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tags/tag4.xml" ContentType="application/vnd.openxmlformats-officedocument.presentationml.tags+xml"/>
  <Override PartName="/ppt/slideLayouts/slideLayout6.xml" ContentType="application/vnd.openxmlformats-officedocument.presentationml.slideLayout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Override PartName="/ppt/tags/tag100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09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notesSlides/notesSlide7.xml" ContentType="application/vnd.openxmlformats-officedocument.presentationml.notesSlide+xml"/>
  <Override PartName="/ppt/tags/tag127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slides/slide5.xml" ContentType="application/vnd.openxmlformats-officedocument.presentationml.slide+xml"/>
  <Default Extension="bin" ContentType="application/vnd.openxmlformats-officedocument.oleObject"/>
  <Default Extension="png" ContentType="image/png"/>
  <Override PartName="/ppt/slideLayouts/slideLayout7.xml" ContentType="application/vnd.openxmlformats-officedocument.presentationml.slideLayout+xml"/>
  <Override PartName="/ppt/notesSlides/notesSlide3.xml" ContentType="application/vnd.openxmlformats-officedocument.presentationml.notesSlide+xml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130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notesSlides/notesSlide13.xml" ContentType="application/vnd.openxmlformats-officedocument.presentationml.notesSlide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notesSlides/notesSlide8.xml" ContentType="application/vnd.openxmlformats-officedocument.presentationml.notesSlide+xml"/>
  <Override PartName="/ppt/tags/tag128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notesSlides/notesSlide4.xml" ContentType="application/vnd.openxmlformats-officedocument.presentationml.notesSlide+xml"/>
  <Override PartName="/ppt/tags/tag124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wmf" ContentType="image/x-wmf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notesSlides/notesSlide9.xml" ContentType="application/vnd.openxmlformats-officedocument.presentationml.notesSlide+xml"/>
  <Override PartName="/ppt/tags/tag129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notesSlides/notesSlide5.xml" ContentType="application/vnd.openxmlformats-officedocument.presentationml.notesSlide+xml"/>
  <Override PartName="/ppt/tags/tag125.xml" ContentType="application/vnd.openxmlformats-officedocument.presentationml.tags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notesSlides/notesSlide6.xml" ContentType="application/vnd.openxmlformats-officedocument.presentationml.notesSlide+xml"/>
  <Override PartName="/ppt/tags/tag126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57" r:id="rId2"/>
    <p:sldMasterId id="2147483660" r:id="rId3"/>
  </p:sldMasterIdLst>
  <p:notesMasterIdLst>
    <p:notesMasterId r:id="rId17"/>
  </p:notesMasterIdLst>
  <p:handoutMasterIdLst>
    <p:handoutMasterId r:id="rId18"/>
  </p:handoutMasterIdLst>
  <p:sldIdLst>
    <p:sldId id="348" r:id="rId4"/>
    <p:sldId id="412" r:id="rId5"/>
    <p:sldId id="420" r:id="rId6"/>
    <p:sldId id="413" r:id="rId7"/>
    <p:sldId id="414" r:id="rId8"/>
    <p:sldId id="415" r:id="rId9"/>
    <p:sldId id="416" r:id="rId10"/>
    <p:sldId id="417" r:id="rId11"/>
    <p:sldId id="418" r:id="rId12"/>
    <p:sldId id="419" r:id="rId13"/>
    <p:sldId id="421" r:id="rId14"/>
    <p:sldId id="423" r:id="rId15"/>
    <p:sldId id="422" r:id="rId16"/>
  </p:sldIdLst>
  <p:sldSz cx="8961438" cy="6721475"/>
  <p:notesSz cx="6797675" cy="9929813"/>
  <p:custDataLst>
    <p:tags r:id="rId1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Verdana" pitchFamily="34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Verdana" pitchFamily="34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Verdana" pitchFamily="34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Verdana" pitchFamily="34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oen Schoots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srgbClr val="FF0000"/>
    </p:penClr>
  </p:showPr>
  <p:clrMru>
    <a:srgbClr val="4D4D4D"/>
    <a:srgbClr val="E7E7E7"/>
    <a:srgbClr val="006600"/>
    <a:srgbClr val="339933"/>
    <a:srgbClr val="91AFFF"/>
    <a:srgbClr val="808080"/>
    <a:srgbClr val="0065CC"/>
    <a:srgbClr val="00296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752" autoAdjust="0"/>
    <p:restoredTop sz="94645" autoAdjust="0"/>
  </p:normalViewPr>
  <p:slideViewPr>
    <p:cSldViewPr snapToGrid="0" snapToObjects="1">
      <p:cViewPr>
        <p:scale>
          <a:sx n="102" d="100"/>
          <a:sy n="102" d="100"/>
        </p:scale>
        <p:origin x="-588" y="750"/>
      </p:cViewPr>
      <p:guideLst>
        <p:guide orient="horz" pos="183"/>
        <p:guide pos="167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6852"/>
    </p:cViewPr>
  </p:sorterViewPr>
  <p:notesViewPr>
    <p:cSldViewPr snapToGrid="0" snapToObjects="1">
      <p:cViewPr varScale="1">
        <p:scale>
          <a:sx n="77" d="100"/>
          <a:sy n="77" d="100"/>
        </p:scale>
        <p:origin x="-3318" y="-78"/>
      </p:cViewPr>
      <p:guideLst>
        <p:guide orient="horz" pos="3128"/>
        <p:guide pos="2142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88950" y="622300"/>
            <a:ext cx="5826125" cy="43688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0863" y="5335588"/>
            <a:ext cx="5792787" cy="1231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noProof="0" smtClean="0">
                <a:sym typeface="Verdana"/>
              </a:rPr>
              <a:t>Click to edit Master text styles</a:t>
            </a:r>
          </a:p>
          <a:p>
            <a:pPr lvl="1"/>
            <a:r>
              <a:rPr lang="nl-NL" noProof="0" smtClean="0">
                <a:sym typeface="Verdana"/>
              </a:rPr>
              <a:t>Second level</a:t>
            </a:r>
          </a:p>
          <a:p>
            <a:pPr lvl="2"/>
            <a:r>
              <a:rPr lang="nl-NL" noProof="0" smtClean="0">
                <a:sym typeface="Verdana"/>
              </a:rPr>
              <a:t>Third level</a:t>
            </a:r>
          </a:p>
          <a:p>
            <a:pPr lvl="3"/>
            <a:r>
              <a:rPr lang="nl-NL" noProof="0" smtClean="0">
                <a:sym typeface="Verdana"/>
              </a:rPr>
              <a:t>Fourth level</a:t>
            </a:r>
          </a:p>
          <a:p>
            <a:pPr lvl="4"/>
            <a:r>
              <a:rPr lang="nl-NL" noProof="0" smtClean="0">
                <a:sym typeface="Verdana"/>
              </a:rPr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5838" y="9488488"/>
            <a:ext cx="539750" cy="2460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600">
                <a:latin typeface="Verdana"/>
                <a:cs typeface="+mn-cs"/>
              </a:defRPr>
            </a:lvl1pPr>
          </a:lstStyle>
          <a:p>
            <a:pPr>
              <a:defRPr/>
            </a:pPr>
            <a:fld id="{B1FD6F46-CD8A-44F5-BCB5-9F343DB9D645}" type="slidenum">
              <a:rPr lang="nl-NL"/>
              <a:pPr>
                <a:defRPr/>
              </a:pPr>
              <a:t>‹#›</a:t>
            </a:fld>
            <a:endParaRPr lang="nl-NL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05588" y="49213"/>
            <a:ext cx="1587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Verdana"/>
        <a:ea typeface="+mn-ea"/>
        <a:cs typeface="+mn-cs"/>
        <a:sym typeface="Verdana" pitchFamily="34" charset="0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Verdana"/>
        <a:ea typeface="+mn-ea"/>
        <a:cs typeface="+mn-cs"/>
        <a:sym typeface="Verdana" pitchFamily="34" charset="0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Verdana"/>
        <a:ea typeface="+mn-ea"/>
        <a:cs typeface="+mn-cs"/>
        <a:sym typeface="Verdana" pitchFamily="34" charset="0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Verdana"/>
        <a:ea typeface="+mn-ea"/>
        <a:cs typeface="+mn-cs"/>
        <a:sym typeface="Verdana" pitchFamily="34" charset="0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Verdana"/>
        <a:ea typeface="+mn-ea"/>
        <a:cs typeface="+mn-cs"/>
        <a:sym typeface="Verdana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D30FE78-476E-49F7-85AC-B2459B3AFDCD}" type="slidenum">
              <a:rPr lang="en-US"/>
              <a:pPr>
                <a:defRPr/>
              </a:pPr>
              <a:t>0</a:t>
            </a:fld>
            <a:endParaRPr lang="en-US"/>
          </a:p>
        </p:txBody>
      </p:sp>
      <p:sp>
        <p:nvSpPr>
          <p:cNvPr id="1587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87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863" y="5335588"/>
            <a:ext cx="5792787" cy="246062"/>
          </a:xfrm>
          <a:noFill/>
        </p:spPr>
        <p:txBody>
          <a:bodyPr/>
          <a:lstStyle/>
          <a:p>
            <a:endParaRPr lang="nl-NL" smtClean="0">
              <a:latin typeface="Verdana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715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863" y="5335588"/>
            <a:ext cx="5792787" cy="246062"/>
          </a:xfrm>
          <a:noFill/>
        </p:spPr>
        <p:txBody>
          <a:bodyPr/>
          <a:lstStyle/>
          <a:p>
            <a:endParaRPr lang="nl-NL" smtClean="0">
              <a:latin typeface="Verdana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2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92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863" y="5335588"/>
            <a:ext cx="5792787" cy="246062"/>
          </a:xfrm>
          <a:noFill/>
        </p:spPr>
        <p:txBody>
          <a:bodyPr/>
          <a:lstStyle/>
          <a:p>
            <a:endParaRPr lang="nl-NL" smtClean="0">
              <a:latin typeface="Verdana" pitchFamily="3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24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125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863" y="5335588"/>
            <a:ext cx="5792787" cy="246062"/>
          </a:xfrm>
          <a:noFill/>
        </p:spPr>
        <p:txBody>
          <a:bodyPr/>
          <a:lstStyle/>
          <a:p>
            <a:endParaRPr lang="nl-NL" smtClean="0">
              <a:latin typeface="Verdana" pitchFamily="3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29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329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863" y="5335588"/>
            <a:ext cx="5792787" cy="246062"/>
          </a:xfrm>
          <a:noFill/>
        </p:spPr>
        <p:txBody>
          <a:bodyPr/>
          <a:lstStyle/>
          <a:p>
            <a:endParaRPr lang="nl-NL" smtClean="0">
              <a:latin typeface="Verdana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76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077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863" y="5335588"/>
            <a:ext cx="5792787" cy="246062"/>
          </a:xfrm>
          <a:noFill/>
        </p:spPr>
        <p:txBody>
          <a:bodyPr/>
          <a:lstStyle/>
          <a:p>
            <a:endParaRPr lang="nl-NL" smtClean="0">
              <a:latin typeface="Verdana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81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281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863" y="5335588"/>
            <a:ext cx="5792787" cy="246062"/>
          </a:xfrm>
          <a:noFill/>
        </p:spPr>
        <p:txBody>
          <a:bodyPr/>
          <a:lstStyle/>
          <a:p>
            <a:endParaRPr lang="nl-NL" smtClean="0">
              <a:latin typeface="Verdana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86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486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863" y="5335588"/>
            <a:ext cx="5792787" cy="246062"/>
          </a:xfrm>
          <a:noFill/>
        </p:spPr>
        <p:txBody>
          <a:bodyPr/>
          <a:lstStyle/>
          <a:p>
            <a:endParaRPr lang="nl-NL" smtClean="0">
              <a:latin typeface="Verdana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91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691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863" y="5335588"/>
            <a:ext cx="5792787" cy="246062"/>
          </a:xfrm>
          <a:noFill/>
        </p:spPr>
        <p:txBody>
          <a:bodyPr/>
          <a:lstStyle/>
          <a:p>
            <a:endParaRPr lang="nl-NL" smtClean="0">
              <a:latin typeface="Verdana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96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896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863" y="5335588"/>
            <a:ext cx="5792787" cy="246062"/>
          </a:xfrm>
          <a:noFill/>
        </p:spPr>
        <p:txBody>
          <a:bodyPr/>
          <a:lstStyle/>
          <a:p>
            <a:endParaRPr lang="nl-NL" smtClean="0">
              <a:latin typeface="Verdana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0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1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863" y="5335588"/>
            <a:ext cx="5792787" cy="246062"/>
          </a:xfrm>
          <a:noFill/>
        </p:spPr>
        <p:txBody>
          <a:bodyPr/>
          <a:lstStyle/>
          <a:p>
            <a:endParaRPr lang="nl-NL" smtClean="0">
              <a:latin typeface="Verdana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305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863" y="5335588"/>
            <a:ext cx="5792787" cy="246062"/>
          </a:xfrm>
          <a:noFill/>
        </p:spPr>
        <p:txBody>
          <a:bodyPr/>
          <a:lstStyle/>
          <a:p>
            <a:endParaRPr lang="nl-NL" smtClean="0">
              <a:latin typeface="Verdana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10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510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863" y="5335588"/>
            <a:ext cx="5792787" cy="246062"/>
          </a:xfrm>
          <a:noFill/>
        </p:spPr>
        <p:txBody>
          <a:bodyPr/>
          <a:lstStyle/>
          <a:p>
            <a:endParaRPr lang="nl-NL" smtClean="0">
              <a:latin typeface="Verdana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oleObject" Target="../embeddings/oleObject2.bin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2.v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5" Type="http://schemas.openxmlformats.org/officeDocument/2006/relationships/tags" Target="../tags/tag16.xml"/><Relationship Id="rId15" Type="http://schemas.openxmlformats.org/officeDocument/2006/relationships/image" Target="../media/image5.png"/><Relationship Id="rId10" Type="http://schemas.openxmlformats.org/officeDocument/2006/relationships/tags" Target="../tags/tag21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2" Type="http://schemas.openxmlformats.org/officeDocument/2006/relationships/tags" Target="../tags/tag23.xml"/><Relationship Id="rId16" Type="http://schemas.openxmlformats.org/officeDocument/2006/relationships/oleObject" Target="../embeddings/oleObject4.bin"/><Relationship Id="rId1" Type="http://schemas.openxmlformats.org/officeDocument/2006/relationships/vmlDrawing" Target="../drawings/vmlDrawing3.v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5" Type="http://schemas.openxmlformats.org/officeDocument/2006/relationships/tags" Target="../tags/tag26.xml"/><Relationship Id="rId15" Type="http://schemas.openxmlformats.org/officeDocument/2006/relationships/image" Target="../media/image2.png"/><Relationship Id="rId10" Type="http://schemas.openxmlformats.org/officeDocument/2006/relationships/tags" Target="../tags/tag31.xml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image" Target="../media/image2.png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oleObject" Target="../embeddings/oleObject5.bin"/><Relationship Id="rId2" Type="http://schemas.openxmlformats.org/officeDocument/2006/relationships/tags" Target="../tags/tag34.xml"/><Relationship Id="rId1" Type="http://schemas.openxmlformats.org/officeDocument/2006/relationships/vmlDrawing" Target="../drawings/vmlDrawing4.vml"/><Relationship Id="rId6" Type="http://schemas.openxmlformats.org/officeDocument/2006/relationships/tags" Target="../tags/tag3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37.xml"/><Relationship Id="rId10" Type="http://schemas.openxmlformats.org/officeDocument/2006/relationships/tags" Target="../tags/tag42.xml"/><Relationship Id="rId4" Type="http://schemas.openxmlformats.org/officeDocument/2006/relationships/tags" Target="../tags/tag36.xml"/><Relationship Id="rId9" Type="http://schemas.openxmlformats.org/officeDocument/2006/relationships/tags" Target="../tags/tag4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oleObject" Target="../embeddings/oleObject7.bin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6.v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5" Type="http://schemas.openxmlformats.org/officeDocument/2006/relationships/tags" Target="../tags/tag57.xml"/><Relationship Id="rId15" Type="http://schemas.openxmlformats.org/officeDocument/2006/relationships/image" Target="../media/image5.png"/><Relationship Id="rId10" Type="http://schemas.openxmlformats.org/officeDocument/2006/relationships/tags" Target="../tags/tag62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slideMaster" Target="../slideMasters/slideMaster2.xml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12" Type="http://schemas.openxmlformats.org/officeDocument/2006/relationships/tags" Target="../tags/tag74.xml"/><Relationship Id="rId2" Type="http://schemas.openxmlformats.org/officeDocument/2006/relationships/tags" Target="../tags/tag64.xml"/><Relationship Id="rId16" Type="http://schemas.openxmlformats.org/officeDocument/2006/relationships/oleObject" Target="../embeddings/oleObject9.bin"/><Relationship Id="rId1" Type="http://schemas.openxmlformats.org/officeDocument/2006/relationships/vmlDrawing" Target="../drawings/vmlDrawing7.vml"/><Relationship Id="rId6" Type="http://schemas.openxmlformats.org/officeDocument/2006/relationships/tags" Target="../tags/tag68.xml"/><Relationship Id="rId11" Type="http://schemas.openxmlformats.org/officeDocument/2006/relationships/tags" Target="../tags/tag73.xml"/><Relationship Id="rId5" Type="http://schemas.openxmlformats.org/officeDocument/2006/relationships/tags" Target="../tags/tag67.xml"/><Relationship Id="rId15" Type="http://schemas.openxmlformats.org/officeDocument/2006/relationships/image" Target="../media/image2.png"/><Relationship Id="rId10" Type="http://schemas.openxmlformats.org/officeDocument/2006/relationships/tags" Target="../tags/tag72.xml"/><Relationship Id="rId4" Type="http://schemas.openxmlformats.org/officeDocument/2006/relationships/tags" Target="../tags/tag66.xml"/><Relationship Id="rId9" Type="http://schemas.openxmlformats.org/officeDocument/2006/relationships/tags" Target="../tags/tag71.xml"/><Relationship Id="rId14" Type="http://schemas.openxmlformats.org/officeDocument/2006/relationships/oleObject" Target="../embeddings/oleObject8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13" Type="http://schemas.openxmlformats.org/officeDocument/2006/relationships/oleObject" Target="../embeddings/oleObject11.bin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86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9.vml"/><Relationship Id="rId6" Type="http://schemas.openxmlformats.org/officeDocument/2006/relationships/tags" Target="../tags/tag90.xml"/><Relationship Id="rId11" Type="http://schemas.openxmlformats.org/officeDocument/2006/relationships/tags" Target="../tags/tag95.xml"/><Relationship Id="rId5" Type="http://schemas.openxmlformats.org/officeDocument/2006/relationships/tags" Target="../tags/tag89.xml"/><Relationship Id="rId15" Type="http://schemas.openxmlformats.org/officeDocument/2006/relationships/image" Target="../media/image5.png"/><Relationship Id="rId10" Type="http://schemas.openxmlformats.org/officeDocument/2006/relationships/tags" Target="../tags/tag94.xml"/><Relationship Id="rId4" Type="http://schemas.openxmlformats.org/officeDocument/2006/relationships/tags" Target="../tags/tag88.xml"/><Relationship Id="rId9" Type="http://schemas.openxmlformats.org/officeDocument/2006/relationships/tags" Target="../tags/tag93.xml"/><Relationship Id="rId14" Type="http://schemas.openxmlformats.org/officeDocument/2006/relationships/image" Target="../media/image4.jpe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tags" Target="../tags/tag106.xml"/><Relationship Id="rId2" Type="http://schemas.openxmlformats.org/officeDocument/2006/relationships/tags" Target="../tags/tag96.xml"/><Relationship Id="rId16" Type="http://schemas.openxmlformats.org/officeDocument/2006/relationships/oleObject" Target="../embeddings/oleObject13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5" Type="http://schemas.openxmlformats.org/officeDocument/2006/relationships/tags" Target="../tags/tag99.xml"/><Relationship Id="rId15" Type="http://schemas.openxmlformats.org/officeDocument/2006/relationships/image" Target="../media/image2.png"/><Relationship Id="rId10" Type="http://schemas.openxmlformats.org/officeDocument/2006/relationships/tags" Target="../tags/tag104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oleObject" Target="../embeddings/oleObject1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2513" name="think-cell Slide" r:id="rId13" imgW="360" imgH="360" progId="">
              <p:embed/>
            </p:oleObj>
          </a:graphicData>
        </a:graphic>
      </p:graphicFrame>
      <p:pic>
        <p:nvPicPr>
          <p:cNvPr id="5" name="Picture 6" descr="SER002-3 PPT Pag 1 v2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/>
          <a:srcRect l="395" t="2460" r="772" b="235"/>
          <a:stretch>
            <a:fillRect/>
          </a:stretch>
        </p:blipFill>
        <p:spPr bwMode="auto">
          <a:xfrm>
            <a:off x="0" y="9525"/>
            <a:ext cx="8966200" cy="671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9" descr="SER_top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5"/>
          <a:srcRect/>
          <a:stretch>
            <a:fillRect/>
          </a:stretch>
        </p:blipFill>
        <p:spPr bwMode="auto">
          <a:xfrm>
            <a:off x="0" y="0"/>
            <a:ext cx="8961438" cy="1290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8" descr="SER_Footer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6"/>
          <a:srcRect/>
          <a:stretch>
            <a:fillRect/>
          </a:stretch>
        </p:blipFill>
        <p:spPr bwMode="auto">
          <a:xfrm>
            <a:off x="0" y="6049963"/>
            <a:ext cx="8966200" cy="808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Working Draft Tex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342900"/>
            <a:ext cx="1130300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nl-NL" sz="900" b="1" smtClean="0">
                <a:solidFill>
                  <a:schemeClr val="accent5"/>
                </a:solidFill>
                <a:latin typeface="Verdana"/>
                <a:cs typeface="+mn-cs"/>
                <a:sym typeface="Verdana"/>
              </a:rPr>
              <a:t>WORKING DRAFT</a:t>
            </a:r>
          </a:p>
        </p:txBody>
      </p:sp>
      <p:sp>
        <p:nvSpPr>
          <p:cNvPr id="9" name="doc i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nl-NL" sz="800" smtClean="0">
              <a:latin typeface="Verdana"/>
              <a:cs typeface="+mn-cs"/>
              <a:sym typeface="Verdana"/>
            </a:endParaRPr>
          </a:p>
        </p:txBody>
      </p:sp>
      <p:sp>
        <p:nvSpPr>
          <p:cNvPr id="10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640013" y="498475"/>
            <a:ext cx="3494087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900">
                <a:solidFill>
                  <a:srgbClr val="2A187D"/>
                </a:solidFill>
                <a:sym typeface="Verdana" pitchFamily="34" charset="0"/>
              </a:rPr>
              <a:t>Last Modified 2/7/2013 7:53 PM W. Europe Standard Time</a:t>
            </a:r>
            <a:endParaRPr lang="nl-NL" sz="900">
              <a:solidFill>
                <a:srgbClr val="2A187D"/>
              </a:solidFill>
              <a:sym typeface="Verdana" pitchFamily="34" charset="0"/>
            </a:endParaRPr>
          </a:p>
        </p:txBody>
      </p:sp>
      <p:sp>
        <p:nvSpPr>
          <p:cNvPr id="11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640013" y="655638"/>
            <a:ext cx="3057525" cy="1381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chemeClr val="accent5"/>
                </a:solidFill>
                <a:latin typeface="Verdana"/>
                <a:cs typeface="+mn-cs"/>
                <a:sym typeface="Verdana"/>
              </a:rPr>
              <a:t>Printed 2/2/2013 8:53 PM W. Europe Standard Time</a:t>
            </a:r>
            <a:endParaRPr lang="nl-NL" sz="900" dirty="0" smtClean="0">
              <a:solidFill>
                <a:schemeClr val="accent5"/>
              </a:solidFill>
              <a:latin typeface="Verdana"/>
              <a:cs typeface="+mn-cs"/>
              <a:sym typeface="Verdana"/>
            </a:endParaRPr>
          </a:p>
        </p:txBody>
      </p:sp>
      <p:grpSp>
        <p:nvGrpSpPr>
          <p:cNvPr id="12" name="McK Title Elements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2640013" y="5464175"/>
            <a:ext cx="5121275" cy="1209675"/>
            <a:chOff x="1663" y="3218"/>
            <a:chExt cx="3226" cy="625"/>
          </a:xfrm>
        </p:grpSpPr>
        <p:sp>
          <p:nvSpPr>
            <p:cNvPr id="13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218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nl-NL" sz="1400" dirty="0" smtClean="0">
                  <a:solidFill>
                    <a:schemeClr val="bg1"/>
                  </a:solidFill>
                  <a:latin typeface="Verdana"/>
                  <a:cs typeface="+mn-cs"/>
                  <a:sym typeface="Verdana"/>
                </a:rPr>
                <a:t>Documenttype</a:t>
              </a:r>
            </a:p>
          </p:txBody>
        </p:sp>
        <p:sp>
          <p:nvSpPr>
            <p:cNvPr id="14" name="McK Date" hidden="1"/>
            <p:cNvSpPr txBox="1">
              <a:spLocks noChangeArrowheads="1"/>
            </p:cNvSpPr>
            <p:nvPr/>
          </p:nvSpPr>
          <p:spPr bwMode="auto">
            <a:xfrm>
              <a:off x="1663" y="3377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nl-NL" sz="1400" dirty="0" smtClean="0">
                  <a:solidFill>
                    <a:schemeClr val="bg1"/>
                  </a:solidFill>
                  <a:latin typeface="Verdana"/>
                  <a:cs typeface="+mn-cs"/>
                  <a:sym typeface="Verdana"/>
                </a:rPr>
                <a:t>Datum</a:t>
              </a:r>
            </a:p>
          </p:txBody>
        </p:sp>
        <p:sp>
          <p:nvSpPr>
            <p:cNvPr id="15" name="McK Disclaimer"/>
            <p:cNvSpPr>
              <a:spLocks noChangeArrowheads="1"/>
            </p:cNvSpPr>
            <p:nvPr/>
          </p:nvSpPr>
          <p:spPr bwMode="auto">
            <a:xfrm>
              <a:off x="1663" y="3765"/>
              <a:ext cx="3226" cy="78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defTabSz="804863" eaLnBrk="0" hangingPunct="0">
                <a:defRPr/>
              </a:pPr>
              <a:r>
                <a:rPr lang="nl-NL" sz="800" dirty="0">
                  <a:solidFill>
                    <a:schemeClr val="accent5"/>
                  </a:solidFill>
                  <a:latin typeface="Verdana"/>
                  <a:cs typeface="+mn-cs"/>
                  <a:sym typeface="Verdana"/>
                </a:rPr>
                <a:t>VERTROUWELIJK EN AUTEURSRECHTELIJK BESCHERMD</a:t>
              </a:r>
            </a:p>
          </p:txBody>
        </p:sp>
      </p:grpSp>
      <p:sp>
        <p:nvSpPr>
          <p:cNvPr id="16" name="Freeform 19"/>
          <p:cNvSpPr/>
          <p:nvPr>
            <p:custDataLst>
              <p:tags r:id="rId11"/>
            </p:custDataLst>
          </p:nvPr>
        </p:nvSpPr>
        <p:spPr>
          <a:xfrm>
            <a:off x="-19050" y="2522538"/>
            <a:ext cx="8985250" cy="2124075"/>
          </a:xfrm>
          <a:custGeom>
            <a:avLst/>
            <a:gdLst>
              <a:gd name="connsiteX0" fmla="*/ 0 w 8963025"/>
              <a:gd name="connsiteY0" fmla="*/ 0 h 2114550"/>
              <a:gd name="connsiteX1" fmla="*/ 2505075 w 8963025"/>
              <a:gd name="connsiteY1" fmla="*/ 0 h 2114550"/>
              <a:gd name="connsiteX2" fmla="*/ 2505075 w 8963025"/>
              <a:gd name="connsiteY2" fmla="*/ 304800 h 2114550"/>
              <a:gd name="connsiteX3" fmla="*/ 8963025 w 8963025"/>
              <a:gd name="connsiteY3" fmla="*/ 304800 h 2114550"/>
              <a:gd name="connsiteX4" fmla="*/ 8963025 w 8963025"/>
              <a:gd name="connsiteY4" fmla="*/ 1400175 h 2114550"/>
              <a:gd name="connsiteX5" fmla="*/ 6419850 w 8963025"/>
              <a:gd name="connsiteY5" fmla="*/ 1400175 h 2114550"/>
              <a:gd name="connsiteX6" fmla="*/ 6419850 w 8963025"/>
              <a:gd name="connsiteY6" fmla="*/ 2114550 h 2114550"/>
              <a:gd name="connsiteX7" fmla="*/ 19050 w 8963025"/>
              <a:gd name="connsiteY7" fmla="*/ 2114550 h 2114550"/>
              <a:gd name="connsiteX8" fmla="*/ 0 w 8963025"/>
              <a:gd name="connsiteY8" fmla="*/ 0 h 2114550"/>
              <a:gd name="connsiteX0" fmla="*/ 9525 w 8972550"/>
              <a:gd name="connsiteY0" fmla="*/ 0 h 2124075"/>
              <a:gd name="connsiteX1" fmla="*/ 2514600 w 8972550"/>
              <a:gd name="connsiteY1" fmla="*/ 0 h 2124075"/>
              <a:gd name="connsiteX2" fmla="*/ 2514600 w 8972550"/>
              <a:gd name="connsiteY2" fmla="*/ 304800 h 2124075"/>
              <a:gd name="connsiteX3" fmla="*/ 8972550 w 8972550"/>
              <a:gd name="connsiteY3" fmla="*/ 304800 h 2124075"/>
              <a:gd name="connsiteX4" fmla="*/ 8972550 w 8972550"/>
              <a:gd name="connsiteY4" fmla="*/ 1400175 h 2124075"/>
              <a:gd name="connsiteX5" fmla="*/ 6429375 w 8972550"/>
              <a:gd name="connsiteY5" fmla="*/ 1400175 h 2124075"/>
              <a:gd name="connsiteX6" fmla="*/ 6429375 w 8972550"/>
              <a:gd name="connsiteY6" fmla="*/ 2114550 h 2124075"/>
              <a:gd name="connsiteX7" fmla="*/ 0 w 8972550"/>
              <a:gd name="connsiteY7" fmla="*/ 2124075 h 2124075"/>
              <a:gd name="connsiteX8" fmla="*/ 9525 w 8972550"/>
              <a:gd name="connsiteY8" fmla="*/ 0 h 2124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72550" h="2124075">
                <a:moveTo>
                  <a:pt x="9525" y="0"/>
                </a:moveTo>
                <a:lnTo>
                  <a:pt x="2514600" y="0"/>
                </a:lnTo>
                <a:lnTo>
                  <a:pt x="2514600" y="304800"/>
                </a:lnTo>
                <a:lnTo>
                  <a:pt x="8972550" y="304800"/>
                </a:lnTo>
                <a:lnTo>
                  <a:pt x="8972550" y="1400175"/>
                </a:lnTo>
                <a:lnTo>
                  <a:pt x="6429375" y="1400175"/>
                </a:lnTo>
                <a:lnTo>
                  <a:pt x="6429375" y="2114550"/>
                </a:lnTo>
                <a:lnTo>
                  <a:pt x="0" y="2124075"/>
                </a:lnTo>
                <a:lnTo>
                  <a:pt x="9525" y="0"/>
                </a:lnTo>
                <a:close/>
              </a:path>
            </a:pathLst>
          </a:custGeom>
          <a:solidFill>
            <a:schemeClr val="accent4">
              <a:alpha val="83000"/>
            </a:schemeClr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700" dirty="0" err="1">
              <a:solidFill>
                <a:schemeClr val="bg1"/>
              </a:solidFill>
            </a:endParaRPr>
          </a:p>
        </p:txBody>
      </p:sp>
      <p:sp>
        <p:nvSpPr>
          <p:cNvPr id="18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5853" y="2975342"/>
            <a:ext cx="6097586" cy="492443"/>
          </a:xfrm>
          <a:prstGeom prst="rect">
            <a:avLst/>
          </a:prstGeom>
        </p:spPr>
        <p:txBody>
          <a:bodyPr/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dirty="0" smtClean="0"/>
              <a:t>Click </a:t>
            </a:r>
            <a:r>
              <a:rPr lang="nl-NL" noProof="0" dirty="0" err="1" smtClean="0"/>
              <a:t>to</a:t>
            </a:r>
            <a:r>
              <a:rPr lang="nl-NL" noProof="0" dirty="0" smtClean="0"/>
              <a:t> </a:t>
            </a:r>
            <a:r>
              <a:rPr lang="nl-NL" noProof="0" dirty="0" err="1" smtClean="0"/>
              <a:t>edit</a:t>
            </a:r>
            <a:r>
              <a:rPr lang="nl-NL" noProof="0" dirty="0" smtClean="0"/>
              <a:t> Master </a:t>
            </a:r>
            <a:r>
              <a:rPr lang="nl-NL" noProof="0" dirty="0" err="1" smtClean="0"/>
              <a:t>title</a:t>
            </a:r>
            <a:r>
              <a:rPr lang="nl-NL" noProof="0" dirty="0" smtClean="0"/>
              <a:t> </a:t>
            </a:r>
            <a:r>
              <a:rPr lang="nl-NL" noProof="0" dirty="0" err="1" smtClean="0"/>
              <a:t>style</a:t>
            </a:r>
            <a:endParaRPr lang="nl-NL" noProof="0" dirty="0" smtClean="0"/>
          </a:p>
        </p:txBody>
      </p:sp>
      <p:sp>
        <p:nvSpPr>
          <p:cNvPr id="19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5853" y="3979783"/>
            <a:ext cx="5892547" cy="246221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dirty="0" smtClean="0"/>
              <a:t>Click </a:t>
            </a:r>
            <a:r>
              <a:rPr lang="nl-NL" noProof="0" dirty="0" err="1" smtClean="0"/>
              <a:t>to</a:t>
            </a:r>
            <a:r>
              <a:rPr lang="nl-NL" noProof="0" dirty="0" smtClean="0"/>
              <a:t> </a:t>
            </a:r>
            <a:r>
              <a:rPr lang="nl-NL" noProof="0" dirty="0" err="1" smtClean="0"/>
              <a:t>edit</a:t>
            </a:r>
            <a:r>
              <a:rPr lang="nl-NL" noProof="0" dirty="0" smtClean="0"/>
              <a:t> Master </a:t>
            </a:r>
            <a:r>
              <a:rPr lang="nl-NL" noProof="0" dirty="0" err="1" smtClean="0"/>
              <a:t>subtitle</a:t>
            </a:r>
            <a:r>
              <a:rPr lang="nl-NL" noProof="0" dirty="0" smtClean="0"/>
              <a:t> </a:t>
            </a:r>
            <a:r>
              <a:rPr lang="nl-NL" noProof="0" dirty="0" err="1" smtClean="0"/>
              <a:t>style</a:t>
            </a:r>
            <a:endParaRPr lang="nl-NL" noProof="0" dirty="0" smtClean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3537" name="think-cell Slide" r:id="rId14" imgW="360" imgH="360" progId="">
              <p:embed/>
            </p:oleObj>
          </a:graphicData>
        </a:graphic>
      </p:graphicFrame>
      <p:sp>
        <p:nvSpPr>
          <p:cNvPr id="5" name="doc id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nl-NL" sz="800" dirty="0">
              <a:solidFill>
                <a:srgbClr val="000000"/>
              </a:solidFill>
              <a:latin typeface="Verdana"/>
              <a:cs typeface="+mn-cs"/>
              <a:sym typeface="Verdana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7533481" y="1932782"/>
            <a:ext cx="2716213" cy="107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700">
                <a:sym typeface="Verdana" pitchFamily="34" charset="0"/>
              </a:rPr>
              <a:t>Last Modified 2/7/2013 7:53 PM W. Europe Standard Time</a:t>
            </a:r>
            <a:endParaRPr lang="nl-NL" sz="700">
              <a:sym typeface="Verdana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7702550" y="4106863"/>
            <a:ext cx="2378075" cy="107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latin typeface="Verdana"/>
                <a:cs typeface="+mn-cs"/>
                <a:sym typeface="Verdana"/>
              </a:rPr>
              <a:t>Printed 2/2/2013 8:53 PM W. Europe Standard Time</a:t>
            </a:r>
            <a:endParaRPr lang="nl-NL" sz="700" dirty="0" smtClean="0">
              <a:latin typeface="Verdana"/>
              <a:cs typeface="+mn-cs"/>
              <a:sym typeface="Verdana"/>
            </a:endParaRPr>
          </a:p>
        </p:txBody>
      </p:sp>
      <p:sp>
        <p:nvSpPr>
          <p:cNvPr id="8" name="McK 1. On-page tracker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19063" y="26988"/>
            <a:ext cx="847725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nl-NL" sz="1400" dirty="0">
                <a:solidFill>
                  <a:srgbClr val="808080"/>
                </a:solidFill>
                <a:latin typeface="Verdana"/>
                <a:cs typeface="+mn-cs"/>
                <a:sym typeface="Verdana"/>
              </a:rPr>
              <a:t>TRACKER</a:t>
            </a:r>
          </a:p>
        </p:txBody>
      </p:sp>
      <p:sp>
        <p:nvSpPr>
          <p:cNvPr id="9" name="McK 3. Unit of measure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nl-NL" sz="1600" dirty="0" smtClean="0">
                <a:solidFill>
                  <a:srgbClr val="808080"/>
                </a:solidFill>
                <a:latin typeface="Verdana"/>
                <a:cs typeface="+mn-cs"/>
                <a:sym typeface="Verdana"/>
              </a:rPr>
              <a:t>Meeteenheid</a:t>
            </a:r>
          </a:p>
        </p:txBody>
      </p:sp>
      <p:grpSp>
        <p:nvGrpSpPr>
          <p:cNvPr id="10" name="McK Slide Elements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19063" y="6078538"/>
            <a:ext cx="8548687" cy="509587"/>
            <a:chOff x="75" y="3829"/>
            <a:chExt cx="5385" cy="321"/>
          </a:xfrm>
        </p:grpSpPr>
        <p:sp>
          <p:nvSpPr>
            <p:cNvPr id="11" name="McK 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nl-NL" sz="1000" dirty="0" smtClean="0">
                  <a:solidFill>
                    <a:schemeClr val="accent5"/>
                  </a:solidFill>
                  <a:latin typeface="Verdana"/>
                  <a:cs typeface="+mn-cs"/>
                  <a:sym typeface="Verdana"/>
                </a:rPr>
                <a:t>1 Voetnoot</a:t>
              </a:r>
            </a:p>
          </p:txBody>
        </p:sp>
        <p:sp>
          <p:nvSpPr>
            <p:cNvPr id="12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nl-NL" sz="1000" dirty="0">
                  <a:solidFill>
                    <a:schemeClr val="accent5"/>
                  </a:solidFill>
                  <a:latin typeface="Verdana"/>
                  <a:cs typeface="+mn-cs"/>
                  <a:sym typeface="Verdana"/>
                </a:rPr>
                <a:t>BRON: Bron</a:t>
              </a:r>
            </a:p>
          </p:txBody>
        </p:sp>
      </p:grpSp>
      <p:grpSp>
        <p:nvGrpSpPr>
          <p:cNvPr id="13" name="ACET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1452563" y="1123950"/>
            <a:ext cx="4264025" cy="511175"/>
            <a:chOff x="915" y="708"/>
            <a:chExt cx="2686" cy="322"/>
          </a:xfrm>
        </p:grpSpPr>
        <p:cxnSp>
          <p:nvCxnSpPr>
            <p:cNvPr id="14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5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nl-NL" sz="1600" b="1" dirty="0">
                  <a:latin typeface="Verdana"/>
                  <a:cs typeface="+mn-cs"/>
                  <a:sym typeface="Verdana"/>
                </a:rPr>
                <a:t>Titel</a:t>
              </a:r>
            </a:p>
            <a:p>
              <a:pPr>
                <a:defRPr/>
              </a:pPr>
              <a:r>
                <a:rPr lang="nl-NL" sz="1600" dirty="0">
                  <a:solidFill>
                    <a:srgbClr val="808080"/>
                  </a:solidFill>
                  <a:latin typeface="Verdana"/>
                  <a:cs typeface="+mn-cs"/>
                  <a:sym typeface="Verdana"/>
                </a:rPr>
                <a:t>Meeteenheid</a:t>
              </a:r>
            </a:p>
          </p:txBody>
        </p:sp>
      </p:grpSp>
      <p:pic>
        <p:nvPicPr>
          <p:cNvPr id="16" name="Picture 9" descr="SER_top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5"/>
          <a:srcRect l="78590" r="3983"/>
          <a:stretch>
            <a:fillRect/>
          </a:stretch>
        </p:blipFill>
        <p:spPr bwMode="auto">
          <a:xfrm>
            <a:off x="8410575" y="0"/>
            <a:ext cx="541338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7" name="Object 3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3538" name="think-cell Slide" r:id="rId16" imgW="360" imgH="360" progId="">
              <p:embed/>
            </p:oleObj>
          </a:graphicData>
        </a:graphic>
      </p:graphicFrame>
      <p:sp>
        <p:nvSpPr>
          <p:cNvPr id="18" name="Slide Number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8545513" y="6435725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defRPr/>
            </a:pPr>
            <a:fld id="{A0C433DD-D1F9-4053-9997-69E306648871}" type="slidenum">
              <a:rPr lang="en-US" smtClean="0">
                <a:solidFill>
                  <a:schemeClr val="accent5"/>
                </a:solidFill>
                <a:latin typeface="Verdana"/>
                <a:cs typeface="+mn-cs"/>
                <a:sym typeface="Verdana"/>
              </a:rPr>
              <a:pPr>
                <a:defRPr/>
              </a:pPr>
              <a:t>‹#›</a:t>
            </a:fld>
            <a:endParaRPr lang="en-US" dirty="0">
              <a:solidFill>
                <a:schemeClr val="accent5"/>
              </a:solidFill>
              <a:latin typeface="Verdana"/>
              <a:cs typeface="+mn-cs"/>
              <a:sym typeface="Verdana"/>
            </a:endParaRPr>
          </a:p>
        </p:txBody>
      </p:sp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Master </a:t>
            </a:r>
            <a:r>
              <a:rPr lang="nl-NL" dirty="0" err="1" smtClean="0"/>
              <a:t>title</a:t>
            </a:r>
            <a:r>
              <a:rPr lang="nl-NL" dirty="0" smtClean="0"/>
              <a:t> </a:t>
            </a:r>
            <a:r>
              <a:rPr lang="nl-NL" dirty="0" err="1" smtClean="0"/>
              <a:t>style</a:t>
            </a:r>
            <a:endParaRPr lang="nl-NL" dirty="0" smtClean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4561" name="think-cell Slide" r:id="rId12" imgW="360" imgH="360" progId="">
              <p:embed/>
            </p:oleObj>
          </a:graphicData>
        </a:graphic>
      </p:graphicFrame>
      <p:sp>
        <p:nvSpPr>
          <p:cNvPr id="5" name="doc id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>
              <a:defRPr/>
            </a:pPr>
            <a:endParaRPr lang="nl-NL"/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7533481" y="1932782"/>
            <a:ext cx="2716213" cy="107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700">
                <a:sym typeface="Verdana" pitchFamily="34" charset="0"/>
              </a:rPr>
              <a:t>Last Modified 2/7/2013 7:53 PM W. Europe Standard Time</a:t>
            </a:r>
            <a:endParaRPr lang="nl-NL" sz="700">
              <a:sym typeface="Verdana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7702550" y="4106863"/>
            <a:ext cx="2378075" cy="107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latin typeface="Verdana"/>
                <a:cs typeface="+mn-cs"/>
                <a:sym typeface="Verdana"/>
              </a:rPr>
              <a:t>Printed 2/2/2013 8:53 PM W. Europe Standard Time</a:t>
            </a:r>
            <a:endParaRPr lang="nl-NL" sz="700" dirty="0" smtClean="0">
              <a:latin typeface="Verdana"/>
              <a:cs typeface="+mn-cs"/>
              <a:sym typeface="Verdana"/>
            </a:endParaRPr>
          </a:p>
        </p:txBody>
      </p:sp>
      <p:sp>
        <p:nvSpPr>
          <p:cNvPr id="8" name="McK 1. On-page tracker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19063" y="26988"/>
            <a:ext cx="847725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nl-NL" sz="1400" dirty="0">
                <a:solidFill>
                  <a:srgbClr val="808080"/>
                </a:solidFill>
                <a:latin typeface="Verdana"/>
                <a:cs typeface="+mn-cs"/>
                <a:sym typeface="Verdana"/>
              </a:rPr>
              <a:t>TRACKER</a:t>
            </a:r>
          </a:p>
        </p:txBody>
      </p:sp>
      <p:sp>
        <p:nvSpPr>
          <p:cNvPr id="9" name="McK 3. Unit of measure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nl-NL" sz="1600" dirty="0" smtClean="0">
                <a:solidFill>
                  <a:srgbClr val="808080"/>
                </a:solidFill>
                <a:latin typeface="Verdana"/>
                <a:cs typeface="+mn-cs"/>
                <a:sym typeface="Verdana"/>
              </a:rPr>
              <a:t>Meeteenheid</a:t>
            </a:r>
          </a:p>
        </p:txBody>
      </p:sp>
      <p:grpSp>
        <p:nvGrpSpPr>
          <p:cNvPr id="10" name="McK Slide Elements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19063" y="6078538"/>
            <a:ext cx="8548687" cy="509587"/>
            <a:chOff x="75" y="3829"/>
            <a:chExt cx="5385" cy="321"/>
          </a:xfrm>
        </p:grpSpPr>
        <p:sp>
          <p:nvSpPr>
            <p:cNvPr id="11" name="McK 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nl-NL" sz="1000" dirty="0" smtClean="0">
                  <a:solidFill>
                    <a:schemeClr val="accent5"/>
                  </a:solidFill>
                  <a:latin typeface="Verdana"/>
                  <a:cs typeface="+mn-cs"/>
                  <a:sym typeface="Verdana"/>
                </a:rPr>
                <a:t>1 Voetnoot</a:t>
              </a:r>
            </a:p>
          </p:txBody>
        </p:sp>
        <p:sp>
          <p:nvSpPr>
            <p:cNvPr id="12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nl-NL" sz="1000" dirty="0">
                  <a:solidFill>
                    <a:schemeClr val="accent5"/>
                  </a:solidFill>
                  <a:latin typeface="Verdana"/>
                  <a:cs typeface="+mn-cs"/>
                  <a:sym typeface="Verdana"/>
                </a:rPr>
                <a:t>BRON: Bron</a:t>
              </a:r>
            </a:p>
          </p:txBody>
        </p:sp>
      </p:grpSp>
      <p:grpSp>
        <p:nvGrpSpPr>
          <p:cNvPr id="13" name="ACET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1452563" y="1123950"/>
            <a:ext cx="4264025" cy="511175"/>
            <a:chOff x="915" y="708"/>
            <a:chExt cx="2686" cy="322"/>
          </a:xfrm>
        </p:grpSpPr>
        <p:cxnSp>
          <p:nvCxnSpPr>
            <p:cNvPr id="14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5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nl-NL" sz="1600" b="1" dirty="0">
                  <a:latin typeface="Verdana"/>
                  <a:cs typeface="+mn-cs"/>
                  <a:sym typeface="Verdana"/>
                </a:rPr>
                <a:t>Titel</a:t>
              </a:r>
            </a:p>
            <a:p>
              <a:pPr>
                <a:defRPr/>
              </a:pPr>
              <a:r>
                <a:rPr lang="nl-NL" sz="1600" dirty="0">
                  <a:solidFill>
                    <a:srgbClr val="808080"/>
                  </a:solidFill>
                  <a:latin typeface="Verdana"/>
                  <a:cs typeface="+mn-cs"/>
                  <a:sym typeface="Verdana"/>
                </a:rPr>
                <a:t>Meeteenheid</a:t>
              </a:r>
            </a:p>
          </p:txBody>
        </p:sp>
      </p:grpSp>
      <p:pic>
        <p:nvPicPr>
          <p:cNvPr id="16" name="Picture 9" descr="SER_top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3"/>
          <a:srcRect l="78590" r="3983"/>
          <a:stretch>
            <a:fillRect/>
          </a:stretch>
        </p:blipFill>
        <p:spPr bwMode="auto">
          <a:xfrm>
            <a:off x="8410575" y="0"/>
            <a:ext cx="541338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291512" cy="292388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17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447675" y="6229350"/>
            <a:ext cx="2090738" cy="358775"/>
          </a:xfrm>
          <a:prstGeom prst="rect">
            <a:avLst/>
          </a:prstGeom>
        </p:spPr>
        <p:txBody>
          <a:bodyPr lIns="89611" tIns="44806" rIns="89611" bIns="44806"/>
          <a:lstStyle>
            <a:lvl1pPr>
              <a:defRPr/>
            </a:lvl1pPr>
          </a:lstStyle>
          <a:p>
            <a:pPr>
              <a:defRPr/>
            </a:pPr>
            <a:fld id="{1A5D3147-E77E-4E09-9B8D-DAA492C8A8B6}" type="datetimeFigureOut">
              <a:rPr lang="nl-NL"/>
              <a:pPr>
                <a:defRPr/>
              </a:pPr>
              <a:t>17-4-2014</a:t>
            </a:fld>
            <a:endParaRPr lang="nl-NL"/>
          </a:p>
        </p:txBody>
      </p:sp>
      <p:sp>
        <p:nvSpPr>
          <p:cNvPr id="18" name="Tijdelijke aanduiding voor voettekst 4"/>
          <p:cNvSpPr>
            <a:spLocks noGrp="1"/>
          </p:cNvSpPr>
          <p:nvPr>
            <p:ph type="ftr" sz="quarter" idx="11"/>
          </p:nvPr>
        </p:nvSpPr>
        <p:spPr>
          <a:xfrm>
            <a:off x="3062288" y="6229350"/>
            <a:ext cx="2836862" cy="358775"/>
          </a:xfrm>
          <a:prstGeom prst="rect">
            <a:avLst/>
          </a:prstGeom>
        </p:spPr>
        <p:txBody>
          <a:bodyPr lIns="89611" tIns="44806" rIns="89611" bIns="44806"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19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6423025" y="6229350"/>
            <a:ext cx="2090738" cy="358775"/>
          </a:xfrm>
          <a:prstGeom prst="rect">
            <a:avLst/>
          </a:prstGeom>
        </p:spPr>
        <p:txBody>
          <a:bodyPr lIns="89611" tIns="44806" rIns="89611" bIns="44806"/>
          <a:lstStyle>
            <a:lvl1pPr>
              <a:defRPr/>
            </a:lvl1pPr>
          </a:lstStyle>
          <a:p>
            <a:pPr>
              <a:defRPr/>
            </a:pPr>
            <a:fld id="{927D3F91-C4DF-40DB-B5E9-8E3344DF851F}" type="slidenum">
              <a:rPr lang="nl-NL"/>
              <a:pPr>
                <a:defRPr/>
              </a:pPr>
              <a:t>‹#›</a:t>
            </a:fld>
            <a:endParaRPr lang="nl-NL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5585" name="think-cell Slide" r:id="rId13" imgW="360" imgH="360" progId="">
              <p:embed/>
            </p:oleObj>
          </a:graphicData>
        </a:graphic>
      </p:graphicFrame>
      <p:pic>
        <p:nvPicPr>
          <p:cNvPr id="5" name="Picture 6" descr="SER002-3 PPT Pag 1 v2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/>
          <a:srcRect l="395" t="2460" r="772" b="235"/>
          <a:stretch>
            <a:fillRect/>
          </a:stretch>
        </p:blipFill>
        <p:spPr bwMode="auto">
          <a:xfrm>
            <a:off x="0" y="9525"/>
            <a:ext cx="8966200" cy="671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9" descr="SER_top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5"/>
          <a:srcRect/>
          <a:stretch>
            <a:fillRect/>
          </a:stretch>
        </p:blipFill>
        <p:spPr bwMode="auto">
          <a:xfrm>
            <a:off x="0" y="0"/>
            <a:ext cx="8961438" cy="1290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8" descr="SER_Footer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6"/>
          <a:srcRect/>
          <a:stretch>
            <a:fillRect/>
          </a:stretch>
        </p:blipFill>
        <p:spPr bwMode="auto">
          <a:xfrm>
            <a:off x="0" y="6049963"/>
            <a:ext cx="8966200" cy="808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Working Draft Tex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342900"/>
            <a:ext cx="1130300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nl-NL" sz="900" b="1" smtClean="0">
                <a:solidFill>
                  <a:srgbClr val="2A187D"/>
                </a:solidFill>
                <a:latin typeface="Verdana"/>
                <a:sym typeface="Verdana"/>
              </a:rPr>
              <a:t>WORKING DRAFT</a:t>
            </a:r>
          </a:p>
        </p:txBody>
      </p:sp>
      <p:sp>
        <p:nvSpPr>
          <p:cNvPr id="9" name="doc i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nl-NL" sz="800" smtClean="0">
              <a:solidFill>
                <a:srgbClr val="000000"/>
              </a:solidFill>
              <a:latin typeface="Verdana"/>
              <a:sym typeface="Verdana"/>
            </a:endParaRPr>
          </a:p>
        </p:txBody>
      </p:sp>
      <p:sp>
        <p:nvSpPr>
          <p:cNvPr id="10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640013" y="498475"/>
            <a:ext cx="3494087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900">
                <a:solidFill>
                  <a:srgbClr val="2A187D"/>
                </a:solidFill>
                <a:sym typeface="Verdana" pitchFamily="34" charset="0"/>
              </a:rPr>
              <a:t>Last Modified 2/7/2013 7:53 PM W. Europe Standard Time</a:t>
            </a:r>
            <a:endParaRPr lang="nl-NL" sz="900">
              <a:solidFill>
                <a:srgbClr val="2A187D"/>
              </a:solidFill>
              <a:sym typeface="Verdana" pitchFamily="34" charset="0"/>
            </a:endParaRPr>
          </a:p>
        </p:txBody>
      </p:sp>
      <p:sp>
        <p:nvSpPr>
          <p:cNvPr id="11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640013" y="655638"/>
            <a:ext cx="3057525" cy="1381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2A187D"/>
                </a:solidFill>
                <a:latin typeface="Verdana"/>
                <a:sym typeface="Verdana"/>
              </a:rPr>
              <a:t>Printed 2/2/2013 8:53 PM W. Europe Standard Time</a:t>
            </a:r>
            <a:endParaRPr lang="nl-NL" sz="900" dirty="0" smtClean="0">
              <a:solidFill>
                <a:srgbClr val="2A187D"/>
              </a:solidFill>
              <a:latin typeface="Verdana"/>
              <a:sym typeface="Verdana"/>
            </a:endParaRPr>
          </a:p>
        </p:txBody>
      </p:sp>
      <p:grpSp>
        <p:nvGrpSpPr>
          <p:cNvPr id="12" name="McK Title Elements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2640013" y="5464175"/>
            <a:ext cx="5121275" cy="1209675"/>
            <a:chOff x="1663" y="3218"/>
            <a:chExt cx="3226" cy="625"/>
          </a:xfrm>
        </p:grpSpPr>
        <p:sp>
          <p:nvSpPr>
            <p:cNvPr id="13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218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nl-NL" sz="1400" dirty="0" smtClean="0">
                  <a:solidFill>
                    <a:srgbClr val="FFFFFF"/>
                  </a:solidFill>
                  <a:latin typeface="Verdana"/>
                  <a:sym typeface="Verdana"/>
                </a:rPr>
                <a:t>Documenttype</a:t>
              </a:r>
            </a:p>
          </p:txBody>
        </p:sp>
        <p:sp>
          <p:nvSpPr>
            <p:cNvPr id="14" name="McK Date" hidden="1"/>
            <p:cNvSpPr txBox="1">
              <a:spLocks noChangeArrowheads="1"/>
            </p:cNvSpPr>
            <p:nvPr/>
          </p:nvSpPr>
          <p:spPr bwMode="auto">
            <a:xfrm>
              <a:off x="1663" y="3377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nl-NL" sz="1400" dirty="0" smtClean="0">
                  <a:solidFill>
                    <a:srgbClr val="FFFFFF"/>
                  </a:solidFill>
                  <a:latin typeface="Verdana"/>
                  <a:sym typeface="Verdana"/>
                </a:rPr>
                <a:t>Datum</a:t>
              </a:r>
            </a:p>
          </p:txBody>
        </p:sp>
        <p:sp>
          <p:nvSpPr>
            <p:cNvPr id="15" name="McK Disclaimer"/>
            <p:cNvSpPr>
              <a:spLocks noChangeArrowheads="1"/>
            </p:cNvSpPr>
            <p:nvPr/>
          </p:nvSpPr>
          <p:spPr bwMode="auto">
            <a:xfrm>
              <a:off x="1663" y="3765"/>
              <a:ext cx="3226" cy="78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defTabSz="804863" eaLnBrk="0" hangingPunct="0">
                <a:defRPr/>
              </a:pPr>
              <a:r>
                <a:rPr lang="nl-NL" sz="800" dirty="0">
                  <a:solidFill>
                    <a:srgbClr val="2A187D"/>
                  </a:solidFill>
                  <a:latin typeface="Verdana"/>
                  <a:sym typeface="Verdana"/>
                </a:rPr>
                <a:t>VERTROUWELIJK EN AUTEURSRECHTELIJK BESCHERMD</a:t>
              </a:r>
            </a:p>
          </p:txBody>
        </p:sp>
      </p:grpSp>
      <p:sp>
        <p:nvSpPr>
          <p:cNvPr id="16" name="Freeform 19"/>
          <p:cNvSpPr/>
          <p:nvPr>
            <p:custDataLst>
              <p:tags r:id="rId11"/>
            </p:custDataLst>
          </p:nvPr>
        </p:nvSpPr>
        <p:spPr>
          <a:xfrm>
            <a:off x="-19050" y="2522538"/>
            <a:ext cx="8985250" cy="2124075"/>
          </a:xfrm>
          <a:custGeom>
            <a:avLst/>
            <a:gdLst>
              <a:gd name="connsiteX0" fmla="*/ 0 w 8963025"/>
              <a:gd name="connsiteY0" fmla="*/ 0 h 2114550"/>
              <a:gd name="connsiteX1" fmla="*/ 2505075 w 8963025"/>
              <a:gd name="connsiteY1" fmla="*/ 0 h 2114550"/>
              <a:gd name="connsiteX2" fmla="*/ 2505075 w 8963025"/>
              <a:gd name="connsiteY2" fmla="*/ 304800 h 2114550"/>
              <a:gd name="connsiteX3" fmla="*/ 8963025 w 8963025"/>
              <a:gd name="connsiteY3" fmla="*/ 304800 h 2114550"/>
              <a:gd name="connsiteX4" fmla="*/ 8963025 w 8963025"/>
              <a:gd name="connsiteY4" fmla="*/ 1400175 h 2114550"/>
              <a:gd name="connsiteX5" fmla="*/ 6419850 w 8963025"/>
              <a:gd name="connsiteY5" fmla="*/ 1400175 h 2114550"/>
              <a:gd name="connsiteX6" fmla="*/ 6419850 w 8963025"/>
              <a:gd name="connsiteY6" fmla="*/ 2114550 h 2114550"/>
              <a:gd name="connsiteX7" fmla="*/ 19050 w 8963025"/>
              <a:gd name="connsiteY7" fmla="*/ 2114550 h 2114550"/>
              <a:gd name="connsiteX8" fmla="*/ 0 w 8963025"/>
              <a:gd name="connsiteY8" fmla="*/ 0 h 2114550"/>
              <a:gd name="connsiteX0" fmla="*/ 9525 w 8972550"/>
              <a:gd name="connsiteY0" fmla="*/ 0 h 2124075"/>
              <a:gd name="connsiteX1" fmla="*/ 2514600 w 8972550"/>
              <a:gd name="connsiteY1" fmla="*/ 0 h 2124075"/>
              <a:gd name="connsiteX2" fmla="*/ 2514600 w 8972550"/>
              <a:gd name="connsiteY2" fmla="*/ 304800 h 2124075"/>
              <a:gd name="connsiteX3" fmla="*/ 8972550 w 8972550"/>
              <a:gd name="connsiteY3" fmla="*/ 304800 h 2124075"/>
              <a:gd name="connsiteX4" fmla="*/ 8972550 w 8972550"/>
              <a:gd name="connsiteY4" fmla="*/ 1400175 h 2124075"/>
              <a:gd name="connsiteX5" fmla="*/ 6429375 w 8972550"/>
              <a:gd name="connsiteY5" fmla="*/ 1400175 h 2124075"/>
              <a:gd name="connsiteX6" fmla="*/ 6429375 w 8972550"/>
              <a:gd name="connsiteY6" fmla="*/ 2114550 h 2124075"/>
              <a:gd name="connsiteX7" fmla="*/ 0 w 8972550"/>
              <a:gd name="connsiteY7" fmla="*/ 2124075 h 2124075"/>
              <a:gd name="connsiteX8" fmla="*/ 9525 w 8972550"/>
              <a:gd name="connsiteY8" fmla="*/ 0 h 2124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72550" h="2124075">
                <a:moveTo>
                  <a:pt x="9525" y="0"/>
                </a:moveTo>
                <a:lnTo>
                  <a:pt x="2514600" y="0"/>
                </a:lnTo>
                <a:lnTo>
                  <a:pt x="2514600" y="304800"/>
                </a:lnTo>
                <a:lnTo>
                  <a:pt x="8972550" y="304800"/>
                </a:lnTo>
                <a:lnTo>
                  <a:pt x="8972550" y="1400175"/>
                </a:lnTo>
                <a:lnTo>
                  <a:pt x="6429375" y="1400175"/>
                </a:lnTo>
                <a:lnTo>
                  <a:pt x="6429375" y="2114550"/>
                </a:lnTo>
                <a:lnTo>
                  <a:pt x="0" y="2124075"/>
                </a:lnTo>
                <a:lnTo>
                  <a:pt x="9525" y="0"/>
                </a:lnTo>
                <a:close/>
              </a:path>
            </a:pathLst>
          </a:custGeom>
          <a:solidFill>
            <a:schemeClr val="accent4">
              <a:alpha val="83000"/>
            </a:schemeClr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700" dirty="0" err="1">
              <a:solidFill>
                <a:srgbClr val="FFFFFF"/>
              </a:solidFill>
            </a:endParaRPr>
          </a:p>
        </p:txBody>
      </p:sp>
      <p:sp>
        <p:nvSpPr>
          <p:cNvPr id="18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5853" y="2975342"/>
            <a:ext cx="6097586" cy="492443"/>
          </a:xfrm>
          <a:prstGeom prst="rect">
            <a:avLst/>
          </a:prstGeom>
        </p:spPr>
        <p:txBody>
          <a:bodyPr/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dirty="0" smtClean="0"/>
              <a:t>Click </a:t>
            </a:r>
            <a:r>
              <a:rPr lang="nl-NL" noProof="0" dirty="0" err="1" smtClean="0"/>
              <a:t>to</a:t>
            </a:r>
            <a:r>
              <a:rPr lang="nl-NL" noProof="0" dirty="0" smtClean="0"/>
              <a:t> </a:t>
            </a:r>
            <a:r>
              <a:rPr lang="nl-NL" noProof="0" dirty="0" err="1" smtClean="0"/>
              <a:t>edit</a:t>
            </a:r>
            <a:r>
              <a:rPr lang="nl-NL" noProof="0" dirty="0" smtClean="0"/>
              <a:t> Master </a:t>
            </a:r>
            <a:r>
              <a:rPr lang="nl-NL" noProof="0" dirty="0" err="1" smtClean="0"/>
              <a:t>title</a:t>
            </a:r>
            <a:r>
              <a:rPr lang="nl-NL" noProof="0" dirty="0" smtClean="0"/>
              <a:t> </a:t>
            </a:r>
            <a:r>
              <a:rPr lang="nl-NL" noProof="0" dirty="0" err="1" smtClean="0"/>
              <a:t>style</a:t>
            </a:r>
            <a:endParaRPr lang="nl-NL" noProof="0" dirty="0" smtClean="0"/>
          </a:p>
        </p:txBody>
      </p:sp>
      <p:sp>
        <p:nvSpPr>
          <p:cNvPr id="19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5853" y="3979783"/>
            <a:ext cx="5892547" cy="246221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dirty="0" smtClean="0"/>
              <a:t>Click </a:t>
            </a:r>
            <a:r>
              <a:rPr lang="nl-NL" noProof="0" dirty="0" err="1" smtClean="0"/>
              <a:t>to</a:t>
            </a:r>
            <a:r>
              <a:rPr lang="nl-NL" noProof="0" dirty="0" smtClean="0"/>
              <a:t> </a:t>
            </a:r>
            <a:r>
              <a:rPr lang="nl-NL" noProof="0" dirty="0" err="1" smtClean="0"/>
              <a:t>edit</a:t>
            </a:r>
            <a:r>
              <a:rPr lang="nl-NL" noProof="0" dirty="0" smtClean="0"/>
              <a:t> Master </a:t>
            </a:r>
            <a:r>
              <a:rPr lang="nl-NL" noProof="0" dirty="0" err="1" smtClean="0"/>
              <a:t>subtitle</a:t>
            </a:r>
            <a:r>
              <a:rPr lang="nl-NL" noProof="0" dirty="0" smtClean="0"/>
              <a:t> </a:t>
            </a:r>
            <a:r>
              <a:rPr lang="nl-NL" noProof="0" dirty="0" err="1" smtClean="0"/>
              <a:t>style</a:t>
            </a:r>
            <a:endParaRPr lang="nl-NL" noProof="0" dirty="0" smtClean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6609" name="think-cell Slide" r:id="rId14" imgW="360" imgH="360" progId="">
              <p:embed/>
            </p:oleObj>
          </a:graphicData>
        </a:graphic>
      </p:graphicFrame>
      <p:sp>
        <p:nvSpPr>
          <p:cNvPr id="5" name="doc id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nl-NL" sz="800" dirty="0">
              <a:solidFill>
                <a:srgbClr val="000000"/>
              </a:solidFill>
              <a:latin typeface="Verdana"/>
              <a:sym typeface="Verdana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7533481" y="1932782"/>
            <a:ext cx="2716213" cy="107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700">
                <a:solidFill>
                  <a:srgbClr val="000000"/>
                </a:solidFill>
                <a:sym typeface="Verdana" pitchFamily="34" charset="0"/>
              </a:rPr>
              <a:t>Last Modified 2/7/2013 7:53 PM W. Europe Standard Time</a:t>
            </a:r>
            <a:endParaRPr lang="nl-NL" sz="700">
              <a:solidFill>
                <a:srgbClr val="000000"/>
              </a:solidFill>
              <a:sym typeface="Verdana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7702550" y="4106863"/>
            <a:ext cx="2378075" cy="107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Verdana"/>
                <a:sym typeface="Verdana"/>
              </a:rPr>
              <a:t>Printed 2/2/2013 8:53 PM W. Europe Standard Time</a:t>
            </a:r>
            <a:endParaRPr lang="nl-NL" sz="700" dirty="0" smtClean="0">
              <a:solidFill>
                <a:srgbClr val="000000"/>
              </a:solidFill>
              <a:latin typeface="Verdana"/>
              <a:sym typeface="Verdana"/>
            </a:endParaRPr>
          </a:p>
        </p:txBody>
      </p:sp>
      <p:sp>
        <p:nvSpPr>
          <p:cNvPr id="8" name="McK 1. On-page tracker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19063" y="26988"/>
            <a:ext cx="847725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nl-NL" sz="1400" dirty="0">
                <a:solidFill>
                  <a:srgbClr val="808080"/>
                </a:solidFill>
                <a:latin typeface="Verdana"/>
                <a:sym typeface="Verdana"/>
              </a:rPr>
              <a:t>TRACKER</a:t>
            </a:r>
          </a:p>
        </p:txBody>
      </p:sp>
      <p:sp>
        <p:nvSpPr>
          <p:cNvPr id="9" name="McK 3. Unit of measure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nl-NL" sz="1600" dirty="0" smtClean="0">
                <a:solidFill>
                  <a:srgbClr val="808080"/>
                </a:solidFill>
                <a:latin typeface="Verdana"/>
                <a:sym typeface="Verdana"/>
              </a:rPr>
              <a:t>Meeteenheid</a:t>
            </a:r>
          </a:p>
        </p:txBody>
      </p:sp>
      <p:grpSp>
        <p:nvGrpSpPr>
          <p:cNvPr id="10" name="McK Slide Elements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19063" y="6078538"/>
            <a:ext cx="8548687" cy="509587"/>
            <a:chOff x="75" y="3829"/>
            <a:chExt cx="5385" cy="321"/>
          </a:xfrm>
        </p:grpSpPr>
        <p:sp>
          <p:nvSpPr>
            <p:cNvPr id="11" name="McK 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nl-NL" sz="1000" dirty="0" smtClean="0">
                  <a:solidFill>
                    <a:srgbClr val="2A187D"/>
                  </a:solidFill>
                  <a:latin typeface="Verdana"/>
                  <a:sym typeface="Verdana"/>
                </a:rPr>
                <a:t>1 Voetnoot</a:t>
              </a:r>
            </a:p>
          </p:txBody>
        </p:sp>
        <p:sp>
          <p:nvSpPr>
            <p:cNvPr id="12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nl-NL" sz="1000" dirty="0">
                  <a:solidFill>
                    <a:srgbClr val="2A187D"/>
                  </a:solidFill>
                  <a:latin typeface="Verdana"/>
                  <a:sym typeface="Verdana"/>
                </a:rPr>
                <a:t>BRON: Bron</a:t>
              </a:r>
            </a:p>
          </p:txBody>
        </p:sp>
      </p:grpSp>
      <p:grpSp>
        <p:nvGrpSpPr>
          <p:cNvPr id="13" name="ACET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1452563" y="1123950"/>
            <a:ext cx="4264025" cy="511175"/>
            <a:chOff x="915" y="708"/>
            <a:chExt cx="2686" cy="322"/>
          </a:xfrm>
        </p:grpSpPr>
        <p:cxnSp>
          <p:nvCxnSpPr>
            <p:cNvPr id="14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5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nl-NL" sz="1600" b="1" dirty="0">
                  <a:solidFill>
                    <a:srgbClr val="000000"/>
                  </a:solidFill>
                  <a:latin typeface="Verdana"/>
                  <a:sym typeface="Verdana"/>
                </a:rPr>
                <a:t>Titel</a:t>
              </a:r>
            </a:p>
            <a:p>
              <a:pPr>
                <a:defRPr/>
              </a:pPr>
              <a:r>
                <a:rPr lang="nl-NL" sz="1600" dirty="0">
                  <a:solidFill>
                    <a:srgbClr val="808080"/>
                  </a:solidFill>
                  <a:latin typeface="Verdana"/>
                  <a:sym typeface="Verdana"/>
                </a:rPr>
                <a:t>Meeteenheid</a:t>
              </a:r>
            </a:p>
          </p:txBody>
        </p:sp>
      </p:grpSp>
      <p:pic>
        <p:nvPicPr>
          <p:cNvPr id="16" name="Picture 9" descr="SER_top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5"/>
          <a:srcRect l="78590" r="3983"/>
          <a:stretch>
            <a:fillRect/>
          </a:stretch>
        </p:blipFill>
        <p:spPr bwMode="auto">
          <a:xfrm>
            <a:off x="8410575" y="0"/>
            <a:ext cx="541338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7" name="Object 3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6610" name="think-cell Slide" r:id="rId16" imgW="360" imgH="360" progId="">
              <p:embed/>
            </p:oleObj>
          </a:graphicData>
        </a:graphic>
      </p:graphicFrame>
      <p:sp>
        <p:nvSpPr>
          <p:cNvPr id="18" name="Slide Number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8545513" y="6435725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defRPr/>
            </a:pPr>
            <a:fld id="{60E14E49-E6CD-4944-8299-0B70401917AF}" type="slidenum">
              <a:rPr lang="en-US" smtClean="0">
                <a:solidFill>
                  <a:srgbClr val="2A187D"/>
                </a:solidFill>
                <a:latin typeface="Verdana"/>
                <a:sym typeface="Verdana"/>
              </a:rPr>
              <a:pPr>
                <a:defRPr/>
              </a:pPr>
              <a:t>‹#›</a:t>
            </a:fld>
            <a:endParaRPr lang="en-US" dirty="0">
              <a:solidFill>
                <a:srgbClr val="2A187D"/>
              </a:solidFill>
              <a:latin typeface="Verdana"/>
              <a:sym typeface="Verdana"/>
            </a:endParaRPr>
          </a:p>
        </p:txBody>
      </p:sp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Master </a:t>
            </a:r>
            <a:r>
              <a:rPr lang="nl-NL" dirty="0" err="1" smtClean="0"/>
              <a:t>title</a:t>
            </a:r>
            <a:r>
              <a:rPr lang="nl-NL" dirty="0" smtClean="0"/>
              <a:t> </a:t>
            </a:r>
            <a:r>
              <a:rPr lang="nl-NL" dirty="0" err="1" smtClean="0"/>
              <a:t>style</a:t>
            </a:r>
            <a:endParaRPr lang="nl-NL" dirty="0" smtClean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7633" name="think-cell Slide" r:id="rId13" imgW="360" imgH="360" progId="">
              <p:embed/>
            </p:oleObj>
          </a:graphicData>
        </a:graphic>
      </p:graphicFrame>
      <p:pic>
        <p:nvPicPr>
          <p:cNvPr id="5" name="Picture 6" descr="SER002-3 PPT Pag 1 v2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/>
          <a:srcRect l="395" t="2460" r="772" b="235"/>
          <a:stretch>
            <a:fillRect/>
          </a:stretch>
        </p:blipFill>
        <p:spPr bwMode="auto">
          <a:xfrm>
            <a:off x="0" y="9525"/>
            <a:ext cx="8966200" cy="671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9" descr="SER_top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5"/>
          <a:srcRect/>
          <a:stretch>
            <a:fillRect/>
          </a:stretch>
        </p:blipFill>
        <p:spPr bwMode="auto">
          <a:xfrm>
            <a:off x="0" y="0"/>
            <a:ext cx="8961438" cy="1290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8" descr="SER_Footer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6"/>
          <a:srcRect/>
          <a:stretch>
            <a:fillRect/>
          </a:stretch>
        </p:blipFill>
        <p:spPr bwMode="auto">
          <a:xfrm>
            <a:off x="0" y="6049963"/>
            <a:ext cx="8966200" cy="808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Working Draft Tex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342900"/>
            <a:ext cx="1130300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nl-NL" sz="900" b="1" smtClean="0">
                <a:solidFill>
                  <a:srgbClr val="2A187D"/>
                </a:solidFill>
                <a:latin typeface="Verdana"/>
                <a:sym typeface="Verdana"/>
              </a:rPr>
              <a:t>WORKING DRAFT</a:t>
            </a:r>
          </a:p>
        </p:txBody>
      </p:sp>
      <p:sp>
        <p:nvSpPr>
          <p:cNvPr id="9" name="doc i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nl-NL" sz="800" smtClean="0">
              <a:solidFill>
                <a:srgbClr val="000000"/>
              </a:solidFill>
              <a:latin typeface="Verdana"/>
              <a:sym typeface="Verdana"/>
            </a:endParaRPr>
          </a:p>
        </p:txBody>
      </p:sp>
      <p:sp>
        <p:nvSpPr>
          <p:cNvPr id="10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640013" y="498475"/>
            <a:ext cx="3494087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900">
                <a:solidFill>
                  <a:srgbClr val="2A187D"/>
                </a:solidFill>
                <a:sym typeface="Verdana" pitchFamily="34" charset="0"/>
              </a:rPr>
              <a:t>Last Modified 2/7/2013 7:53 PM W. Europe Standard Time</a:t>
            </a:r>
            <a:endParaRPr lang="nl-NL" sz="900">
              <a:solidFill>
                <a:srgbClr val="2A187D"/>
              </a:solidFill>
              <a:sym typeface="Verdana" pitchFamily="34" charset="0"/>
            </a:endParaRPr>
          </a:p>
        </p:txBody>
      </p:sp>
      <p:sp>
        <p:nvSpPr>
          <p:cNvPr id="11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640013" y="655638"/>
            <a:ext cx="3057525" cy="1381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2A187D"/>
                </a:solidFill>
                <a:latin typeface="Verdana"/>
                <a:sym typeface="Verdana"/>
              </a:rPr>
              <a:t>Printed 2/2/2013 8:53 PM W. Europe Standard Time</a:t>
            </a:r>
            <a:endParaRPr lang="nl-NL" sz="900" dirty="0" smtClean="0">
              <a:solidFill>
                <a:srgbClr val="2A187D"/>
              </a:solidFill>
              <a:latin typeface="Verdana"/>
              <a:sym typeface="Verdana"/>
            </a:endParaRPr>
          </a:p>
        </p:txBody>
      </p:sp>
      <p:grpSp>
        <p:nvGrpSpPr>
          <p:cNvPr id="12" name="McK Title Elements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2640013" y="5464175"/>
            <a:ext cx="5121275" cy="1209675"/>
            <a:chOff x="1663" y="3218"/>
            <a:chExt cx="3226" cy="625"/>
          </a:xfrm>
        </p:grpSpPr>
        <p:sp>
          <p:nvSpPr>
            <p:cNvPr id="13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218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nl-NL" sz="1400" dirty="0" smtClean="0">
                  <a:solidFill>
                    <a:srgbClr val="FFFFFF"/>
                  </a:solidFill>
                  <a:latin typeface="Verdana"/>
                  <a:sym typeface="Verdana"/>
                </a:rPr>
                <a:t>Documenttype</a:t>
              </a:r>
            </a:p>
          </p:txBody>
        </p:sp>
        <p:sp>
          <p:nvSpPr>
            <p:cNvPr id="14" name="McK Date" hidden="1"/>
            <p:cNvSpPr txBox="1">
              <a:spLocks noChangeArrowheads="1"/>
            </p:cNvSpPr>
            <p:nvPr/>
          </p:nvSpPr>
          <p:spPr bwMode="auto">
            <a:xfrm>
              <a:off x="1663" y="3377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nl-NL" sz="1400" dirty="0" smtClean="0">
                  <a:solidFill>
                    <a:srgbClr val="FFFFFF"/>
                  </a:solidFill>
                  <a:latin typeface="Verdana"/>
                  <a:sym typeface="Verdana"/>
                </a:rPr>
                <a:t>Datum</a:t>
              </a:r>
            </a:p>
          </p:txBody>
        </p:sp>
        <p:sp>
          <p:nvSpPr>
            <p:cNvPr id="15" name="McK Disclaimer"/>
            <p:cNvSpPr>
              <a:spLocks noChangeArrowheads="1"/>
            </p:cNvSpPr>
            <p:nvPr/>
          </p:nvSpPr>
          <p:spPr bwMode="auto">
            <a:xfrm>
              <a:off x="1663" y="3765"/>
              <a:ext cx="3226" cy="78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defTabSz="804863" eaLnBrk="0" hangingPunct="0">
                <a:defRPr/>
              </a:pPr>
              <a:r>
                <a:rPr lang="nl-NL" sz="800" dirty="0">
                  <a:solidFill>
                    <a:srgbClr val="2A187D"/>
                  </a:solidFill>
                  <a:latin typeface="Verdana"/>
                  <a:sym typeface="Verdana"/>
                </a:rPr>
                <a:t>VERTROUWELIJK EN AUTEURSRECHTELIJK BESCHERMD</a:t>
              </a:r>
            </a:p>
          </p:txBody>
        </p:sp>
      </p:grpSp>
      <p:sp>
        <p:nvSpPr>
          <p:cNvPr id="16" name="Freeform 19"/>
          <p:cNvSpPr/>
          <p:nvPr>
            <p:custDataLst>
              <p:tags r:id="rId11"/>
            </p:custDataLst>
          </p:nvPr>
        </p:nvSpPr>
        <p:spPr>
          <a:xfrm>
            <a:off x="-19050" y="2522538"/>
            <a:ext cx="8985250" cy="2124075"/>
          </a:xfrm>
          <a:custGeom>
            <a:avLst/>
            <a:gdLst>
              <a:gd name="connsiteX0" fmla="*/ 0 w 8963025"/>
              <a:gd name="connsiteY0" fmla="*/ 0 h 2114550"/>
              <a:gd name="connsiteX1" fmla="*/ 2505075 w 8963025"/>
              <a:gd name="connsiteY1" fmla="*/ 0 h 2114550"/>
              <a:gd name="connsiteX2" fmla="*/ 2505075 w 8963025"/>
              <a:gd name="connsiteY2" fmla="*/ 304800 h 2114550"/>
              <a:gd name="connsiteX3" fmla="*/ 8963025 w 8963025"/>
              <a:gd name="connsiteY3" fmla="*/ 304800 h 2114550"/>
              <a:gd name="connsiteX4" fmla="*/ 8963025 w 8963025"/>
              <a:gd name="connsiteY4" fmla="*/ 1400175 h 2114550"/>
              <a:gd name="connsiteX5" fmla="*/ 6419850 w 8963025"/>
              <a:gd name="connsiteY5" fmla="*/ 1400175 h 2114550"/>
              <a:gd name="connsiteX6" fmla="*/ 6419850 w 8963025"/>
              <a:gd name="connsiteY6" fmla="*/ 2114550 h 2114550"/>
              <a:gd name="connsiteX7" fmla="*/ 19050 w 8963025"/>
              <a:gd name="connsiteY7" fmla="*/ 2114550 h 2114550"/>
              <a:gd name="connsiteX8" fmla="*/ 0 w 8963025"/>
              <a:gd name="connsiteY8" fmla="*/ 0 h 2114550"/>
              <a:gd name="connsiteX0" fmla="*/ 9525 w 8972550"/>
              <a:gd name="connsiteY0" fmla="*/ 0 h 2124075"/>
              <a:gd name="connsiteX1" fmla="*/ 2514600 w 8972550"/>
              <a:gd name="connsiteY1" fmla="*/ 0 h 2124075"/>
              <a:gd name="connsiteX2" fmla="*/ 2514600 w 8972550"/>
              <a:gd name="connsiteY2" fmla="*/ 304800 h 2124075"/>
              <a:gd name="connsiteX3" fmla="*/ 8972550 w 8972550"/>
              <a:gd name="connsiteY3" fmla="*/ 304800 h 2124075"/>
              <a:gd name="connsiteX4" fmla="*/ 8972550 w 8972550"/>
              <a:gd name="connsiteY4" fmla="*/ 1400175 h 2124075"/>
              <a:gd name="connsiteX5" fmla="*/ 6429375 w 8972550"/>
              <a:gd name="connsiteY5" fmla="*/ 1400175 h 2124075"/>
              <a:gd name="connsiteX6" fmla="*/ 6429375 w 8972550"/>
              <a:gd name="connsiteY6" fmla="*/ 2114550 h 2124075"/>
              <a:gd name="connsiteX7" fmla="*/ 0 w 8972550"/>
              <a:gd name="connsiteY7" fmla="*/ 2124075 h 2124075"/>
              <a:gd name="connsiteX8" fmla="*/ 9525 w 8972550"/>
              <a:gd name="connsiteY8" fmla="*/ 0 h 2124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72550" h="2124075">
                <a:moveTo>
                  <a:pt x="9525" y="0"/>
                </a:moveTo>
                <a:lnTo>
                  <a:pt x="2514600" y="0"/>
                </a:lnTo>
                <a:lnTo>
                  <a:pt x="2514600" y="304800"/>
                </a:lnTo>
                <a:lnTo>
                  <a:pt x="8972550" y="304800"/>
                </a:lnTo>
                <a:lnTo>
                  <a:pt x="8972550" y="1400175"/>
                </a:lnTo>
                <a:lnTo>
                  <a:pt x="6429375" y="1400175"/>
                </a:lnTo>
                <a:lnTo>
                  <a:pt x="6429375" y="2114550"/>
                </a:lnTo>
                <a:lnTo>
                  <a:pt x="0" y="2124075"/>
                </a:lnTo>
                <a:lnTo>
                  <a:pt x="9525" y="0"/>
                </a:lnTo>
                <a:close/>
              </a:path>
            </a:pathLst>
          </a:custGeom>
          <a:solidFill>
            <a:schemeClr val="accent4">
              <a:alpha val="83000"/>
            </a:schemeClr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700" dirty="0" err="1">
              <a:solidFill>
                <a:srgbClr val="FFFFFF"/>
              </a:solidFill>
            </a:endParaRPr>
          </a:p>
        </p:txBody>
      </p:sp>
      <p:sp>
        <p:nvSpPr>
          <p:cNvPr id="18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5853" y="2975342"/>
            <a:ext cx="6097586" cy="492443"/>
          </a:xfrm>
          <a:prstGeom prst="rect">
            <a:avLst/>
          </a:prstGeom>
        </p:spPr>
        <p:txBody>
          <a:bodyPr/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dirty="0" smtClean="0"/>
              <a:t>Click </a:t>
            </a:r>
            <a:r>
              <a:rPr lang="nl-NL" noProof="0" dirty="0" err="1" smtClean="0"/>
              <a:t>to</a:t>
            </a:r>
            <a:r>
              <a:rPr lang="nl-NL" noProof="0" dirty="0" smtClean="0"/>
              <a:t> </a:t>
            </a:r>
            <a:r>
              <a:rPr lang="nl-NL" noProof="0" dirty="0" err="1" smtClean="0"/>
              <a:t>edit</a:t>
            </a:r>
            <a:r>
              <a:rPr lang="nl-NL" noProof="0" dirty="0" smtClean="0"/>
              <a:t> Master </a:t>
            </a:r>
            <a:r>
              <a:rPr lang="nl-NL" noProof="0" dirty="0" err="1" smtClean="0"/>
              <a:t>title</a:t>
            </a:r>
            <a:r>
              <a:rPr lang="nl-NL" noProof="0" dirty="0" smtClean="0"/>
              <a:t> </a:t>
            </a:r>
            <a:r>
              <a:rPr lang="nl-NL" noProof="0" dirty="0" err="1" smtClean="0"/>
              <a:t>style</a:t>
            </a:r>
            <a:endParaRPr lang="nl-NL" noProof="0" dirty="0" smtClean="0"/>
          </a:p>
        </p:txBody>
      </p:sp>
      <p:sp>
        <p:nvSpPr>
          <p:cNvPr id="19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5853" y="3979783"/>
            <a:ext cx="5892547" cy="246221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dirty="0" smtClean="0"/>
              <a:t>Click </a:t>
            </a:r>
            <a:r>
              <a:rPr lang="nl-NL" noProof="0" dirty="0" err="1" smtClean="0"/>
              <a:t>to</a:t>
            </a:r>
            <a:r>
              <a:rPr lang="nl-NL" noProof="0" dirty="0" smtClean="0"/>
              <a:t> </a:t>
            </a:r>
            <a:r>
              <a:rPr lang="nl-NL" noProof="0" dirty="0" err="1" smtClean="0"/>
              <a:t>edit</a:t>
            </a:r>
            <a:r>
              <a:rPr lang="nl-NL" noProof="0" dirty="0" smtClean="0"/>
              <a:t> Master </a:t>
            </a:r>
            <a:r>
              <a:rPr lang="nl-NL" noProof="0" dirty="0" err="1" smtClean="0"/>
              <a:t>subtitle</a:t>
            </a:r>
            <a:r>
              <a:rPr lang="nl-NL" noProof="0" dirty="0" smtClean="0"/>
              <a:t> </a:t>
            </a:r>
            <a:r>
              <a:rPr lang="nl-NL" noProof="0" dirty="0" err="1" smtClean="0"/>
              <a:t>style</a:t>
            </a:r>
            <a:endParaRPr lang="nl-NL" noProof="0" dirty="0" smtClean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8657" name="think-cell Slide" r:id="rId14" imgW="360" imgH="360" progId="">
              <p:embed/>
            </p:oleObj>
          </a:graphicData>
        </a:graphic>
      </p:graphicFrame>
      <p:sp>
        <p:nvSpPr>
          <p:cNvPr id="5" name="doc id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nl-NL" sz="800" dirty="0">
              <a:solidFill>
                <a:srgbClr val="000000"/>
              </a:solidFill>
              <a:latin typeface="Verdana"/>
              <a:sym typeface="Verdana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7533481" y="1932782"/>
            <a:ext cx="2716213" cy="107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700">
                <a:solidFill>
                  <a:srgbClr val="000000"/>
                </a:solidFill>
                <a:sym typeface="Verdana" pitchFamily="34" charset="0"/>
              </a:rPr>
              <a:t>Last Modified 2/7/2013 7:53 PM W. Europe Standard Time</a:t>
            </a:r>
            <a:endParaRPr lang="nl-NL" sz="700">
              <a:solidFill>
                <a:srgbClr val="000000"/>
              </a:solidFill>
              <a:sym typeface="Verdana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7702550" y="4106863"/>
            <a:ext cx="2378075" cy="107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Verdana"/>
                <a:sym typeface="Verdana"/>
              </a:rPr>
              <a:t>Printed 2/2/2013 8:53 PM W. Europe Standard Time</a:t>
            </a:r>
            <a:endParaRPr lang="nl-NL" sz="700" dirty="0" smtClean="0">
              <a:solidFill>
                <a:srgbClr val="000000"/>
              </a:solidFill>
              <a:latin typeface="Verdana"/>
              <a:sym typeface="Verdana"/>
            </a:endParaRPr>
          </a:p>
        </p:txBody>
      </p:sp>
      <p:sp>
        <p:nvSpPr>
          <p:cNvPr id="8" name="McK 1. On-page tracker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19063" y="26988"/>
            <a:ext cx="847725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nl-NL" sz="1400" dirty="0">
                <a:solidFill>
                  <a:srgbClr val="808080"/>
                </a:solidFill>
                <a:latin typeface="Verdana"/>
                <a:sym typeface="Verdana"/>
              </a:rPr>
              <a:t>TRACKER</a:t>
            </a:r>
          </a:p>
        </p:txBody>
      </p:sp>
      <p:sp>
        <p:nvSpPr>
          <p:cNvPr id="9" name="McK 3. Unit of measure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nl-NL" sz="1600" dirty="0" smtClean="0">
                <a:solidFill>
                  <a:srgbClr val="808080"/>
                </a:solidFill>
                <a:latin typeface="Verdana"/>
                <a:sym typeface="Verdana"/>
              </a:rPr>
              <a:t>Meeteenheid</a:t>
            </a:r>
          </a:p>
        </p:txBody>
      </p:sp>
      <p:grpSp>
        <p:nvGrpSpPr>
          <p:cNvPr id="10" name="McK Slide Elements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19063" y="6078538"/>
            <a:ext cx="8548687" cy="509587"/>
            <a:chOff x="75" y="3829"/>
            <a:chExt cx="5385" cy="321"/>
          </a:xfrm>
        </p:grpSpPr>
        <p:sp>
          <p:nvSpPr>
            <p:cNvPr id="11" name="McK 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nl-NL" sz="1000" dirty="0" smtClean="0">
                  <a:solidFill>
                    <a:srgbClr val="2A187D"/>
                  </a:solidFill>
                  <a:latin typeface="Verdana"/>
                  <a:sym typeface="Verdana"/>
                </a:rPr>
                <a:t>1 Voetnoot</a:t>
              </a:r>
            </a:p>
          </p:txBody>
        </p:sp>
        <p:sp>
          <p:nvSpPr>
            <p:cNvPr id="12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nl-NL" sz="1000" dirty="0">
                  <a:solidFill>
                    <a:srgbClr val="2A187D"/>
                  </a:solidFill>
                  <a:latin typeface="Verdana"/>
                  <a:sym typeface="Verdana"/>
                </a:rPr>
                <a:t>BRON: Bron</a:t>
              </a:r>
            </a:p>
          </p:txBody>
        </p:sp>
      </p:grpSp>
      <p:grpSp>
        <p:nvGrpSpPr>
          <p:cNvPr id="13" name="ACET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1452563" y="1123950"/>
            <a:ext cx="4264025" cy="511175"/>
            <a:chOff x="915" y="708"/>
            <a:chExt cx="2686" cy="322"/>
          </a:xfrm>
        </p:grpSpPr>
        <p:cxnSp>
          <p:nvCxnSpPr>
            <p:cNvPr id="14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5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nl-NL" sz="1600" b="1" dirty="0">
                  <a:solidFill>
                    <a:srgbClr val="000000"/>
                  </a:solidFill>
                  <a:latin typeface="Verdana"/>
                  <a:sym typeface="Verdana"/>
                </a:rPr>
                <a:t>Titel</a:t>
              </a:r>
            </a:p>
            <a:p>
              <a:pPr>
                <a:defRPr/>
              </a:pPr>
              <a:r>
                <a:rPr lang="nl-NL" sz="1600" dirty="0">
                  <a:solidFill>
                    <a:srgbClr val="808080"/>
                  </a:solidFill>
                  <a:latin typeface="Verdana"/>
                  <a:sym typeface="Verdana"/>
                </a:rPr>
                <a:t>Meeteenheid</a:t>
              </a:r>
            </a:p>
          </p:txBody>
        </p:sp>
      </p:grpSp>
      <p:pic>
        <p:nvPicPr>
          <p:cNvPr id="16" name="Picture 9" descr="SER_top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5"/>
          <a:srcRect l="78590" r="3983"/>
          <a:stretch>
            <a:fillRect/>
          </a:stretch>
        </p:blipFill>
        <p:spPr bwMode="auto">
          <a:xfrm>
            <a:off x="8410575" y="0"/>
            <a:ext cx="541338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7" name="Object 3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8658" name="think-cell Slide" r:id="rId16" imgW="360" imgH="360" progId="">
              <p:embed/>
            </p:oleObj>
          </a:graphicData>
        </a:graphic>
      </p:graphicFrame>
      <p:sp>
        <p:nvSpPr>
          <p:cNvPr id="18" name="Slide Number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8545513" y="6435725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defRPr/>
            </a:pPr>
            <a:fld id="{DD6AC588-57A9-43DE-BE0E-AD246582B929}" type="slidenum">
              <a:rPr lang="en-US" smtClean="0">
                <a:solidFill>
                  <a:srgbClr val="2A187D"/>
                </a:solidFill>
                <a:latin typeface="Verdana"/>
                <a:sym typeface="Verdana"/>
              </a:rPr>
              <a:pPr>
                <a:defRPr/>
              </a:pPr>
              <a:t>‹#›</a:t>
            </a:fld>
            <a:endParaRPr lang="en-US" dirty="0">
              <a:solidFill>
                <a:srgbClr val="2A187D"/>
              </a:solidFill>
              <a:latin typeface="Verdana"/>
              <a:sym typeface="Verdana"/>
            </a:endParaRPr>
          </a:p>
        </p:txBody>
      </p:sp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Master </a:t>
            </a:r>
            <a:r>
              <a:rPr lang="nl-NL" dirty="0" err="1" smtClean="0"/>
              <a:t>title</a:t>
            </a:r>
            <a:r>
              <a:rPr lang="nl-NL" dirty="0" smtClean="0"/>
              <a:t> </a:t>
            </a:r>
            <a:r>
              <a:rPr lang="nl-NL" dirty="0" err="1" smtClean="0"/>
              <a:t>style</a:t>
            </a:r>
            <a:endParaRPr lang="nl-NL" dirty="0" smtClean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10" Type="http://schemas.openxmlformats.org/officeDocument/2006/relationships/tags" Target="../tags/tag6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3" Type="http://schemas.openxmlformats.org/officeDocument/2006/relationships/theme" Target="../theme/theme2.xml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6" Type="http://schemas.openxmlformats.org/officeDocument/2006/relationships/oleObject" Target="../embeddings/oleObject6.bin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5" Type="http://schemas.openxmlformats.org/officeDocument/2006/relationships/tags" Target="../tags/tag43.xml"/><Relationship Id="rId15" Type="http://schemas.openxmlformats.org/officeDocument/2006/relationships/tags" Target="../tags/tag53.xml"/><Relationship Id="rId10" Type="http://schemas.openxmlformats.org/officeDocument/2006/relationships/tags" Target="../tags/tag48.xml"/><Relationship Id="rId4" Type="http://schemas.openxmlformats.org/officeDocument/2006/relationships/vmlDrawing" Target="../drawings/vmlDrawing5.vml"/><Relationship Id="rId9" Type="http://schemas.openxmlformats.org/officeDocument/2006/relationships/tags" Target="../tags/tag47.xml"/><Relationship Id="rId14" Type="http://schemas.openxmlformats.org/officeDocument/2006/relationships/tags" Target="../tags/tag5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13" Type="http://schemas.openxmlformats.org/officeDocument/2006/relationships/tags" Target="../tags/tag83.xml"/><Relationship Id="rId3" Type="http://schemas.openxmlformats.org/officeDocument/2006/relationships/theme" Target="../theme/theme3.xml"/><Relationship Id="rId7" Type="http://schemas.openxmlformats.org/officeDocument/2006/relationships/tags" Target="../tags/tag77.xml"/><Relationship Id="rId12" Type="http://schemas.openxmlformats.org/officeDocument/2006/relationships/tags" Target="../tags/tag8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6" Type="http://schemas.openxmlformats.org/officeDocument/2006/relationships/oleObject" Target="../embeddings/oleObject10.bin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76.xml"/><Relationship Id="rId11" Type="http://schemas.openxmlformats.org/officeDocument/2006/relationships/tags" Target="../tags/tag81.xml"/><Relationship Id="rId5" Type="http://schemas.openxmlformats.org/officeDocument/2006/relationships/tags" Target="../tags/tag75.xml"/><Relationship Id="rId15" Type="http://schemas.openxmlformats.org/officeDocument/2006/relationships/tags" Target="../tags/tag85.xml"/><Relationship Id="rId10" Type="http://schemas.openxmlformats.org/officeDocument/2006/relationships/tags" Target="../tags/tag80.xml"/><Relationship Id="rId4" Type="http://schemas.openxmlformats.org/officeDocument/2006/relationships/vmlDrawing" Target="../drawings/vmlDrawing8.vml"/><Relationship Id="rId9" Type="http://schemas.openxmlformats.org/officeDocument/2006/relationships/tags" Target="../tags/tag79.xml"/><Relationship Id="rId14" Type="http://schemas.openxmlformats.org/officeDocument/2006/relationships/tags" Target="../tags/tag8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12" name="Object 188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12" name="think-cell Slide" r:id="rId17" imgW="360" imgH="360" progId="">
              <p:embed/>
            </p:oleObj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>
              <a:defRPr/>
            </a:pPr>
            <a:endParaRPr lang="nl-NL"/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533481" y="1932782"/>
            <a:ext cx="2716213" cy="107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700">
                <a:sym typeface="Verdana" pitchFamily="34" charset="0"/>
              </a:rPr>
              <a:t>Last Modified 2/7/2013 7:53 PM W. Europe Standard Time</a:t>
            </a:r>
            <a:endParaRPr lang="nl-NL" sz="700">
              <a:sym typeface="Verdana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7702550" y="4106863"/>
            <a:ext cx="2378075" cy="107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latin typeface="Verdana"/>
                <a:cs typeface="+mn-cs"/>
                <a:sym typeface="Verdana"/>
              </a:rPr>
              <a:t>Printed 2/2/2013 8:53 PM W. Europe Standard Time</a:t>
            </a:r>
            <a:endParaRPr lang="nl-NL" sz="700" dirty="0" smtClean="0">
              <a:latin typeface="Verdana"/>
              <a:cs typeface="+mn-cs"/>
              <a:sym typeface="Verdana"/>
            </a:endParaRPr>
          </a:p>
        </p:txBody>
      </p:sp>
      <p:sp>
        <p:nvSpPr>
          <p:cNvPr id="1217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smtClean="0">
                <a:sym typeface="Verdana" pitchFamily="34" charset="0"/>
              </a:rPr>
              <a:t>Click to edit Master text styles</a:t>
            </a:r>
          </a:p>
          <a:p>
            <a:pPr lvl="1"/>
            <a:r>
              <a:rPr lang="nl-NL" smtClean="0">
                <a:sym typeface="Verdana" pitchFamily="34" charset="0"/>
              </a:rPr>
              <a:t>Second level</a:t>
            </a:r>
          </a:p>
          <a:p>
            <a:pPr lvl="2"/>
            <a:r>
              <a:rPr lang="nl-NL" smtClean="0">
                <a:sym typeface="Verdana" pitchFamily="34" charset="0"/>
              </a:rPr>
              <a:t>Third level</a:t>
            </a:r>
          </a:p>
          <a:p>
            <a:pPr lvl="3"/>
            <a:r>
              <a:rPr lang="nl-NL" smtClean="0">
                <a:sym typeface="Verdana" pitchFamily="34" charset="0"/>
              </a:rPr>
              <a:t>Fourth level</a:t>
            </a:r>
          </a:p>
          <a:p>
            <a:pPr lvl="4"/>
            <a:r>
              <a:rPr lang="nl-NL" smtClean="0">
                <a:sym typeface="Verdana" pitchFamily="34" charset="0"/>
              </a:rPr>
              <a:t>Fifth level</a:t>
            </a:r>
          </a:p>
        </p:txBody>
      </p:sp>
      <p:sp>
        <p:nvSpPr>
          <p:cNvPr id="1218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9063" y="230188"/>
            <a:ext cx="8291512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smtClean="0">
                <a:sym typeface="Verdana" pitchFamily="34" charset="0"/>
              </a:rPr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26988"/>
            <a:ext cx="847725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nl-NL" sz="1400" dirty="0">
                <a:solidFill>
                  <a:srgbClr val="808080"/>
                </a:solidFill>
                <a:latin typeface="Verdana"/>
                <a:cs typeface="+mn-cs"/>
                <a:sym typeface="Verdan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nl-NL" sz="1600" dirty="0" smtClean="0">
                <a:solidFill>
                  <a:srgbClr val="808080"/>
                </a:solidFill>
                <a:latin typeface="Verdana"/>
                <a:cs typeface="+mn-cs"/>
                <a:sym typeface="Verdana"/>
              </a:rPr>
              <a:t>Meeteenheid</a:t>
            </a:r>
          </a:p>
        </p:txBody>
      </p:sp>
      <p:grpSp>
        <p:nvGrpSpPr>
          <p:cNvPr id="1221" name="McK Slide Elements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19063" y="6078538"/>
            <a:ext cx="8548687" cy="509587"/>
            <a:chOff x="75" y="3829"/>
            <a:chExt cx="5385" cy="321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nl-NL" sz="1000" dirty="0" smtClean="0">
                  <a:solidFill>
                    <a:schemeClr val="accent5"/>
                  </a:solidFill>
                  <a:latin typeface="Verdana"/>
                  <a:cs typeface="+mn-cs"/>
                  <a:sym typeface="Verdana"/>
                </a:rPr>
                <a:t>1 Voetnoot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nl-NL" sz="1000" dirty="0">
                  <a:solidFill>
                    <a:schemeClr val="accent5"/>
                  </a:solidFill>
                  <a:latin typeface="Verdana"/>
                  <a:cs typeface="+mn-cs"/>
                  <a:sym typeface="Verdana"/>
                </a:rPr>
                <a:t>BRON: Bron</a:t>
              </a:r>
            </a:p>
          </p:txBody>
        </p:sp>
      </p:grpSp>
      <p:grpSp>
        <p:nvGrpSpPr>
          <p:cNvPr id="1222" name="ACET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452563" y="1123950"/>
            <a:ext cx="4264025" cy="511175"/>
            <a:chOff x="915" y="708"/>
            <a:chExt cx="2686" cy="322"/>
          </a:xfrm>
        </p:grpSpPr>
        <p:cxnSp>
          <p:nvCxnSpPr>
            <p:cNvPr id="1224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nl-NL" sz="1600" b="1" dirty="0">
                  <a:latin typeface="Verdana"/>
                  <a:cs typeface="+mn-cs"/>
                  <a:sym typeface="Verdana"/>
                </a:rPr>
                <a:t>Titel</a:t>
              </a:r>
            </a:p>
            <a:p>
              <a:pPr>
                <a:defRPr/>
              </a:pPr>
              <a:r>
                <a:rPr lang="nl-NL" sz="1600" dirty="0">
                  <a:solidFill>
                    <a:srgbClr val="808080"/>
                  </a:solidFill>
                  <a:latin typeface="Verdana"/>
                  <a:cs typeface="+mn-cs"/>
                  <a:sym typeface="Verdana"/>
                </a:rPr>
                <a:t>Meeteenheid</a:t>
              </a:r>
            </a:p>
          </p:txBody>
        </p:sp>
      </p:grpSp>
      <p:pic>
        <p:nvPicPr>
          <p:cNvPr id="1223" name="Picture 9" descr="SER_top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18"/>
          <a:srcRect l="78590" r="3983"/>
          <a:stretch>
            <a:fillRect/>
          </a:stretch>
        </p:blipFill>
        <p:spPr bwMode="auto">
          <a:xfrm>
            <a:off x="8410575" y="0"/>
            <a:ext cx="541338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Verdana"/>
          <a:ea typeface="+mj-ea"/>
          <a:cs typeface="+mj-cs"/>
          <a:sym typeface="Verdana" pitchFamily="34" charset="0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Verdana" pitchFamily="34" charset="0"/>
          <a:sym typeface="Verdana" pitchFamily="34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Verdana" pitchFamily="34" charset="0"/>
          <a:sym typeface="Verdana" pitchFamily="34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Verdana" pitchFamily="34" charset="0"/>
          <a:sym typeface="Verdana" pitchFamily="34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Verdana" pitchFamily="34" charset="0"/>
          <a:sym typeface="Verdana" pitchFamily="34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Verdana"/>
          <a:ea typeface="+mn-ea"/>
          <a:cs typeface="+mn-cs"/>
          <a:sym typeface="Verdana" pitchFamily="34" charset="0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Verdana"/>
          <a:sym typeface="Verdana" pitchFamily="34" charset="0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Verdana"/>
          <a:sym typeface="Verdana" pitchFamily="34" charset="0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Verdana"/>
          <a:sym typeface="Verdana" pitchFamily="34" charset="0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Verdana"/>
          <a:sym typeface="Verdana" pitchFamily="34" charset="0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505" name="Object 65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1505" name="think-cell Slide" r:id="rId16" imgW="360" imgH="360" progId="">
              <p:embed/>
            </p:oleObj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>
              <a:defRPr/>
            </a:pPr>
            <a:endParaRPr lang="nl-NL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7533481" y="1932782"/>
            <a:ext cx="2716213" cy="107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700">
                <a:solidFill>
                  <a:srgbClr val="000000"/>
                </a:solidFill>
                <a:sym typeface="Verdana" pitchFamily="34" charset="0"/>
              </a:rPr>
              <a:t>Last Modified 2/7/2013 7:53 PM W. Europe Standard Time</a:t>
            </a:r>
            <a:endParaRPr lang="nl-NL" sz="700">
              <a:solidFill>
                <a:srgbClr val="000000"/>
              </a:solidFill>
              <a:sym typeface="Verdana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702550" y="4106863"/>
            <a:ext cx="2378075" cy="107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Verdana"/>
                <a:sym typeface="Verdana"/>
              </a:rPr>
              <a:t>Printed 2/2/2013 8:53 PM W. Europe Standard Time</a:t>
            </a:r>
            <a:endParaRPr lang="nl-NL" sz="700" dirty="0" smtClean="0">
              <a:solidFill>
                <a:srgbClr val="000000"/>
              </a:solidFill>
              <a:latin typeface="Verdana"/>
              <a:sym typeface="Verdana"/>
            </a:endParaRPr>
          </a:p>
        </p:txBody>
      </p:sp>
      <p:sp>
        <p:nvSpPr>
          <p:cNvPr id="61510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smtClean="0">
                <a:sym typeface="Verdana" pitchFamily="34" charset="0"/>
              </a:rPr>
              <a:t>Click to edit Master text styles</a:t>
            </a:r>
          </a:p>
          <a:p>
            <a:pPr lvl="1"/>
            <a:r>
              <a:rPr lang="nl-NL" smtClean="0">
                <a:sym typeface="Verdana" pitchFamily="34" charset="0"/>
              </a:rPr>
              <a:t>Second level</a:t>
            </a:r>
          </a:p>
          <a:p>
            <a:pPr lvl="2"/>
            <a:r>
              <a:rPr lang="nl-NL" smtClean="0">
                <a:sym typeface="Verdana" pitchFamily="34" charset="0"/>
              </a:rPr>
              <a:t>Third level</a:t>
            </a:r>
          </a:p>
          <a:p>
            <a:pPr lvl="3"/>
            <a:r>
              <a:rPr lang="nl-NL" smtClean="0">
                <a:sym typeface="Verdana" pitchFamily="34" charset="0"/>
              </a:rPr>
              <a:t>Fourth level</a:t>
            </a:r>
          </a:p>
          <a:p>
            <a:pPr lvl="4"/>
            <a:r>
              <a:rPr lang="nl-NL" smtClean="0">
                <a:sym typeface="Verdana" pitchFamily="34" charset="0"/>
              </a:rPr>
              <a:t>Fifth level</a:t>
            </a:r>
          </a:p>
        </p:txBody>
      </p:sp>
      <p:sp>
        <p:nvSpPr>
          <p:cNvPr id="61511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19063" y="230188"/>
            <a:ext cx="8291512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smtClean="0">
                <a:sym typeface="Verdana" pitchFamily="34" charset="0"/>
              </a:rPr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19063" y="26988"/>
            <a:ext cx="847725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nl-NL" sz="1400" dirty="0">
                <a:solidFill>
                  <a:srgbClr val="808080"/>
                </a:solidFill>
                <a:latin typeface="Verdana"/>
                <a:sym typeface="Verdan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nl-NL" sz="1600" dirty="0" smtClean="0">
                <a:solidFill>
                  <a:srgbClr val="808080"/>
                </a:solidFill>
                <a:latin typeface="Verdana"/>
                <a:sym typeface="Verdana"/>
              </a:rPr>
              <a:t>Meeteenheid</a:t>
            </a:r>
          </a:p>
        </p:txBody>
      </p:sp>
      <p:grpSp>
        <p:nvGrpSpPr>
          <p:cNvPr id="61514" name="McK Slide Elements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19063" y="6078538"/>
            <a:ext cx="8548687" cy="509587"/>
            <a:chOff x="75" y="3829"/>
            <a:chExt cx="5385" cy="321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nl-NL" sz="1000" dirty="0" smtClean="0">
                  <a:solidFill>
                    <a:srgbClr val="2A187D"/>
                  </a:solidFill>
                  <a:latin typeface="Verdana"/>
                  <a:sym typeface="Verdana"/>
                </a:rPr>
                <a:t>1 Voetnoot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nl-NL" sz="1000" dirty="0">
                  <a:solidFill>
                    <a:srgbClr val="2A187D"/>
                  </a:solidFill>
                  <a:latin typeface="Verdana"/>
                  <a:sym typeface="Verdana"/>
                </a:rPr>
                <a:t>BRON: Bron</a:t>
              </a:r>
            </a:p>
          </p:txBody>
        </p:sp>
      </p:grpSp>
      <p:grpSp>
        <p:nvGrpSpPr>
          <p:cNvPr id="615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52563" y="1123950"/>
            <a:ext cx="4264025" cy="511175"/>
            <a:chOff x="915" y="708"/>
            <a:chExt cx="2686" cy="322"/>
          </a:xfrm>
        </p:grpSpPr>
        <p:cxnSp>
          <p:nvCxnSpPr>
            <p:cNvPr id="61517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nl-NL" sz="1600" b="1" dirty="0">
                  <a:solidFill>
                    <a:srgbClr val="000000"/>
                  </a:solidFill>
                  <a:latin typeface="Verdana"/>
                  <a:sym typeface="Verdana"/>
                </a:rPr>
                <a:t>Titel</a:t>
              </a:r>
            </a:p>
            <a:p>
              <a:pPr>
                <a:defRPr/>
              </a:pPr>
              <a:r>
                <a:rPr lang="nl-NL" sz="1600" dirty="0">
                  <a:solidFill>
                    <a:srgbClr val="808080"/>
                  </a:solidFill>
                  <a:latin typeface="Verdana"/>
                  <a:sym typeface="Verdana"/>
                </a:rPr>
                <a:t>Meeteenheid</a:t>
              </a:r>
            </a:p>
          </p:txBody>
        </p:sp>
      </p:grpSp>
      <p:pic>
        <p:nvPicPr>
          <p:cNvPr id="61516" name="Picture 9" descr="SER_top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17"/>
          <a:srcRect l="78590" r="3983"/>
          <a:stretch>
            <a:fillRect/>
          </a:stretch>
        </p:blipFill>
        <p:spPr bwMode="auto">
          <a:xfrm>
            <a:off x="8410575" y="0"/>
            <a:ext cx="541338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Verdana"/>
          <a:ea typeface="+mj-ea"/>
          <a:cs typeface="+mj-cs"/>
          <a:sym typeface="Verdana" pitchFamily="34" charset="0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Verdana" pitchFamily="34" charset="0"/>
          <a:sym typeface="Verdana" pitchFamily="34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Verdana" pitchFamily="34" charset="0"/>
          <a:sym typeface="Verdana" pitchFamily="34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Verdana" pitchFamily="34" charset="0"/>
          <a:sym typeface="Verdana" pitchFamily="34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Verdana" pitchFamily="34" charset="0"/>
          <a:sym typeface="Verdana" pitchFamily="34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Verdana"/>
          <a:ea typeface="+mn-ea"/>
          <a:cs typeface="+mn-cs"/>
          <a:sym typeface="Verdana" pitchFamily="34" charset="0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Verdana"/>
          <a:sym typeface="Verdana" pitchFamily="34" charset="0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Verdana"/>
          <a:sym typeface="Verdana" pitchFamily="34" charset="0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Verdana"/>
          <a:sym typeface="Verdana" pitchFamily="34" charset="0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Verdana"/>
          <a:sym typeface="Verdana" pitchFamily="34" charset="0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577" name="Object 65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4577" name="think-cell Slide" r:id="rId16" imgW="360" imgH="360" progId="">
              <p:embed/>
            </p:oleObj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>
              <a:defRPr/>
            </a:pPr>
            <a:endParaRPr lang="nl-NL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7533481" y="1932782"/>
            <a:ext cx="2716213" cy="107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700">
                <a:solidFill>
                  <a:srgbClr val="000000"/>
                </a:solidFill>
                <a:sym typeface="Verdana" pitchFamily="34" charset="0"/>
              </a:rPr>
              <a:t>Last Modified 2/7/2013 7:53 PM W. Europe Standard Time</a:t>
            </a:r>
            <a:endParaRPr lang="nl-NL" sz="700">
              <a:solidFill>
                <a:srgbClr val="000000"/>
              </a:solidFill>
              <a:sym typeface="Verdana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702550" y="4106863"/>
            <a:ext cx="2378075" cy="107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smtClean="0">
                <a:solidFill>
                  <a:srgbClr val="000000"/>
                </a:solidFill>
                <a:latin typeface="Verdana"/>
                <a:sym typeface="Verdana"/>
              </a:rPr>
              <a:t>Printed 2/2/2013 8:53 PM W. Europe Standard Time</a:t>
            </a:r>
            <a:endParaRPr lang="nl-NL" sz="700" dirty="0" smtClean="0">
              <a:solidFill>
                <a:srgbClr val="000000"/>
              </a:solidFill>
              <a:latin typeface="Verdana"/>
              <a:sym typeface="Verdana"/>
            </a:endParaRPr>
          </a:p>
        </p:txBody>
      </p:sp>
      <p:sp>
        <p:nvSpPr>
          <p:cNvPr id="64582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smtClean="0">
                <a:sym typeface="Verdana" pitchFamily="34" charset="0"/>
              </a:rPr>
              <a:t>Click to edit Master text styles</a:t>
            </a:r>
          </a:p>
          <a:p>
            <a:pPr lvl="1"/>
            <a:r>
              <a:rPr lang="nl-NL" smtClean="0">
                <a:sym typeface="Verdana" pitchFamily="34" charset="0"/>
              </a:rPr>
              <a:t>Second level</a:t>
            </a:r>
          </a:p>
          <a:p>
            <a:pPr lvl="2"/>
            <a:r>
              <a:rPr lang="nl-NL" smtClean="0">
                <a:sym typeface="Verdana" pitchFamily="34" charset="0"/>
              </a:rPr>
              <a:t>Third level</a:t>
            </a:r>
          </a:p>
          <a:p>
            <a:pPr lvl="3"/>
            <a:r>
              <a:rPr lang="nl-NL" smtClean="0">
                <a:sym typeface="Verdana" pitchFamily="34" charset="0"/>
              </a:rPr>
              <a:t>Fourth level</a:t>
            </a:r>
          </a:p>
          <a:p>
            <a:pPr lvl="4"/>
            <a:r>
              <a:rPr lang="nl-NL" smtClean="0">
                <a:sym typeface="Verdana" pitchFamily="34" charset="0"/>
              </a:rPr>
              <a:t>Fifth level</a:t>
            </a:r>
          </a:p>
        </p:txBody>
      </p:sp>
      <p:sp>
        <p:nvSpPr>
          <p:cNvPr id="64583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19063" y="230188"/>
            <a:ext cx="8291512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smtClean="0">
                <a:sym typeface="Verdana" pitchFamily="34" charset="0"/>
              </a:rPr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19063" y="26988"/>
            <a:ext cx="847725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nl-NL" sz="1400" dirty="0">
                <a:solidFill>
                  <a:srgbClr val="808080"/>
                </a:solidFill>
                <a:latin typeface="Verdana"/>
                <a:sym typeface="Verdan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nl-NL" sz="1600" dirty="0" smtClean="0">
                <a:solidFill>
                  <a:srgbClr val="808080"/>
                </a:solidFill>
                <a:latin typeface="Verdana"/>
                <a:sym typeface="Verdana"/>
              </a:rPr>
              <a:t>Meeteenheid</a:t>
            </a:r>
          </a:p>
        </p:txBody>
      </p:sp>
      <p:grpSp>
        <p:nvGrpSpPr>
          <p:cNvPr id="64586" name="McK Slide Elements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19063" y="6078538"/>
            <a:ext cx="8548687" cy="509587"/>
            <a:chOff x="75" y="3829"/>
            <a:chExt cx="5385" cy="321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nl-NL" sz="1000" dirty="0" smtClean="0">
                  <a:solidFill>
                    <a:srgbClr val="2A187D"/>
                  </a:solidFill>
                  <a:latin typeface="Verdana"/>
                  <a:sym typeface="Verdana"/>
                </a:rPr>
                <a:t>1 Voetnoot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nl-NL" sz="1000" dirty="0">
                  <a:solidFill>
                    <a:srgbClr val="2A187D"/>
                  </a:solidFill>
                  <a:latin typeface="Verdana"/>
                  <a:sym typeface="Verdana"/>
                </a:rPr>
                <a:t>BRON: Bron</a:t>
              </a:r>
            </a:p>
          </p:txBody>
        </p:sp>
      </p:grpSp>
      <p:grpSp>
        <p:nvGrpSpPr>
          <p:cNvPr id="64587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52563" y="1123950"/>
            <a:ext cx="4264025" cy="511175"/>
            <a:chOff x="915" y="708"/>
            <a:chExt cx="2686" cy="322"/>
          </a:xfrm>
        </p:grpSpPr>
        <p:cxnSp>
          <p:nvCxnSpPr>
            <p:cNvPr id="6458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nl-NL" sz="1600" b="1" dirty="0">
                  <a:solidFill>
                    <a:srgbClr val="000000"/>
                  </a:solidFill>
                  <a:latin typeface="Verdana"/>
                  <a:sym typeface="Verdana"/>
                </a:rPr>
                <a:t>Titel</a:t>
              </a:r>
            </a:p>
            <a:p>
              <a:pPr>
                <a:defRPr/>
              </a:pPr>
              <a:r>
                <a:rPr lang="nl-NL" sz="1600" dirty="0">
                  <a:solidFill>
                    <a:srgbClr val="808080"/>
                  </a:solidFill>
                  <a:latin typeface="Verdana"/>
                  <a:sym typeface="Verdana"/>
                </a:rPr>
                <a:t>Meeteenheid</a:t>
              </a:r>
            </a:p>
          </p:txBody>
        </p:sp>
      </p:grpSp>
      <p:pic>
        <p:nvPicPr>
          <p:cNvPr id="64588" name="Picture 9" descr="SER_top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17"/>
          <a:srcRect l="78590" r="3983"/>
          <a:stretch>
            <a:fillRect/>
          </a:stretch>
        </p:blipFill>
        <p:spPr bwMode="auto">
          <a:xfrm>
            <a:off x="8410575" y="0"/>
            <a:ext cx="541338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Verdana"/>
          <a:ea typeface="+mj-ea"/>
          <a:cs typeface="+mj-cs"/>
          <a:sym typeface="Verdana" pitchFamily="34" charset="0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Verdana" pitchFamily="34" charset="0"/>
          <a:sym typeface="Verdana" pitchFamily="34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Verdana" pitchFamily="34" charset="0"/>
          <a:sym typeface="Verdana" pitchFamily="34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Verdana" pitchFamily="34" charset="0"/>
          <a:sym typeface="Verdana" pitchFamily="34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Verdana" pitchFamily="34" charset="0"/>
          <a:sym typeface="Verdana" pitchFamily="34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Verdana"/>
          <a:ea typeface="+mn-ea"/>
          <a:cs typeface="+mn-cs"/>
          <a:sym typeface="Verdana" pitchFamily="34" charset="0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Verdana"/>
          <a:sym typeface="Verdana" pitchFamily="34" charset="0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Verdana"/>
          <a:sym typeface="Verdana" pitchFamily="34" charset="0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Verdana"/>
          <a:sym typeface="Verdana" pitchFamily="34" charset="0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Verdana"/>
          <a:sym typeface="Verdana" pitchFamily="34" charset="0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image" Target="../media/image24.jpeg"/><Relationship Id="rId3" Type="http://schemas.openxmlformats.org/officeDocument/2006/relationships/tags" Target="../tags/tag124.xml"/><Relationship Id="rId7" Type="http://schemas.openxmlformats.org/officeDocument/2006/relationships/image" Target="../media/image7.jpeg"/><Relationship Id="rId12" Type="http://schemas.openxmlformats.org/officeDocument/2006/relationships/hyperlink" Target="http://www.google.nl/url?sa=t&amp;rct=j&amp;q=&amp;esrc=s&amp;frm=1&amp;source=images&amp;cd=&amp;cad=rja&amp;ved=0CAQQjRw&amp;url=http://joodsactueel.be/2011/06/15/nederlandse-christenunie-in-de-bres-voor-koosjer-slachten/&amp;ei=eiIWU-3AJaOH4gSgz4GADw&amp;usg=AFQjCNFcS7umPQ5YETBRxqq8B6U0kPotMQ&amp;bvm=bv.62286460,d.bGE" TargetMode="External"/><Relationship Id="rId2" Type="http://schemas.openxmlformats.org/officeDocument/2006/relationships/tags" Target="../tags/tag123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22.bin"/><Relationship Id="rId11" Type="http://schemas.openxmlformats.org/officeDocument/2006/relationships/image" Target="../media/image23.png"/><Relationship Id="rId5" Type="http://schemas.openxmlformats.org/officeDocument/2006/relationships/notesSlide" Target="../notesSlides/notesSlide10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1.png"/><Relationship Id="rId1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126.xml"/><Relationship Id="rId7" Type="http://schemas.openxmlformats.org/officeDocument/2006/relationships/image" Target="../media/image7.jpeg"/><Relationship Id="rId2" Type="http://schemas.openxmlformats.org/officeDocument/2006/relationships/tags" Target="../tags/tag125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128.xml"/><Relationship Id="rId7" Type="http://schemas.openxmlformats.org/officeDocument/2006/relationships/image" Target="../media/image7.jpeg"/><Relationship Id="rId2" Type="http://schemas.openxmlformats.org/officeDocument/2006/relationships/tags" Target="../tags/tag127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4.png"/><Relationship Id="rId3" Type="http://schemas.openxmlformats.org/officeDocument/2006/relationships/tags" Target="../tags/tag130.xml"/><Relationship Id="rId7" Type="http://schemas.openxmlformats.org/officeDocument/2006/relationships/image" Target="../media/image7.jpeg"/><Relationship Id="rId12" Type="http://schemas.openxmlformats.org/officeDocument/2006/relationships/image" Target="../media/image13.png"/><Relationship Id="rId2" Type="http://schemas.openxmlformats.org/officeDocument/2006/relationships/tags" Target="../tags/tag129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5.bin"/><Relationship Id="rId11" Type="http://schemas.openxmlformats.org/officeDocument/2006/relationships/image" Target="../media/image12.jpeg"/><Relationship Id="rId5" Type="http://schemas.openxmlformats.org/officeDocument/2006/relationships/notesSlide" Target="../notesSlides/notesSlide13.xml"/><Relationship Id="rId15" Type="http://schemas.openxmlformats.org/officeDocument/2006/relationships/image" Target="../media/image26.jpeg"/><Relationship Id="rId10" Type="http://schemas.openxmlformats.org/officeDocument/2006/relationships/image" Target="../media/image11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jpeg"/><Relationship Id="rId14" Type="http://schemas.openxmlformats.org/officeDocument/2006/relationships/image" Target="../media/image15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4.png"/><Relationship Id="rId3" Type="http://schemas.openxmlformats.org/officeDocument/2006/relationships/tags" Target="../tags/tag108.xml"/><Relationship Id="rId7" Type="http://schemas.openxmlformats.org/officeDocument/2006/relationships/image" Target="../media/image7.jpeg"/><Relationship Id="rId12" Type="http://schemas.openxmlformats.org/officeDocument/2006/relationships/image" Target="../media/image13.png"/><Relationship Id="rId2" Type="http://schemas.openxmlformats.org/officeDocument/2006/relationships/tags" Target="../tags/tag107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4.bin"/><Relationship Id="rId11" Type="http://schemas.openxmlformats.org/officeDocument/2006/relationships/image" Target="../media/image12.jpe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1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jpeg"/><Relationship Id="rId14" Type="http://schemas.openxmlformats.org/officeDocument/2006/relationships/image" Target="../media/image15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110.xml"/><Relationship Id="rId7" Type="http://schemas.openxmlformats.org/officeDocument/2006/relationships/image" Target="../media/image7.jpeg"/><Relationship Id="rId2" Type="http://schemas.openxmlformats.org/officeDocument/2006/relationships/tags" Target="../tags/tag10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tags" Target="../tags/tag112.xml"/><Relationship Id="rId7" Type="http://schemas.openxmlformats.org/officeDocument/2006/relationships/image" Target="../media/image7.jpeg"/><Relationship Id="rId2" Type="http://schemas.openxmlformats.org/officeDocument/2006/relationships/tags" Target="../tags/tag111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7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114.xml"/><Relationship Id="rId7" Type="http://schemas.openxmlformats.org/officeDocument/2006/relationships/image" Target="../media/image7.jpeg"/><Relationship Id="rId2" Type="http://schemas.openxmlformats.org/officeDocument/2006/relationships/tags" Target="../tags/tag113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18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116.xml"/><Relationship Id="rId7" Type="http://schemas.openxmlformats.org/officeDocument/2006/relationships/image" Target="../media/image7.jpeg"/><Relationship Id="rId2" Type="http://schemas.openxmlformats.org/officeDocument/2006/relationships/tags" Target="../tags/tag115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8.bin"/><Relationship Id="rId11" Type="http://schemas.openxmlformats.org/officeDocument/2006/relationships/image" Target="../media/image19.png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12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118.xml"/><Relationship Id="rId7" Type="http://schemas.openxmlformats.org/officeDocument/2006/relationships/image" Target="../media/image7.jpeg"/><Relationship Id="rId2" Type="http://schemas.openxmlformats.org/officeDocument/2006/relationships/tags" Target="../tags/tag117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9.bin"/><Relationship Id="rId11" Type="http://schemas.openxmlformats.org/officeDocument/2006/relationships/image" Target="../media/image14.png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12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tags" Target="../tags/tag120.xml"/><Relationship Id="rId7" Type="http://schemas.openxmlformats.org/officeDocument/2006/relationships/image" Target="../media/image7.jpeg"/><Relationship Id="rId2" Type="http://schemas.openxmlformats.org/officeDocument/2006/relationships/tags" Target="../tags/tag119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0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122.xml"/><Relationship Id="rId7" Type="http://schemas.openxmlformats.org/officeDocument/2006/relationships/image" Target="../media/image7.jpeg"/><Relationship Id="rId2" Type="http://schemas.openxmlformats.org/officeDocument/2006/relationships/tags" Target="../tags/tag121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hoek 21"/>
          <p:cNvSpPr/>
          <p:nvPr/>
        </p:nvSpPr>
        <p:spPr>
          <a:xfrm>
            <a:off x="0" y="1666875"/>
            <a:ext cx="8961438" cy="5054600"/>
          </a:xfrm>
          <a:prstGeom prst="rect">
            <a:avLst/>
          </a:prstGeom>
          <a:solidFill>
            <a:srgbClr val="4D4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anchor="ctr"/>
          <a:lstStyle/>
          <a:p>
            <a:pPr algn="ctr">
              <a:defRPr/>
            </a:pPr>
            <a:endParaRPr lang="nl-NL"/>
          </a:p>
        </p:txBody>
      </p:sp>
      <p:sp>
        <p:nvSpPr>
          <p:cNvPr id="15769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28638" y="1820863"/>
            <a:ext cx="7832725" cy="4359275"/>
          </a:xfrm>
        </p:spPr>
        <p:txBody>
          <a:bodyPr/>
          <a:lstStyle/>
          <a:p>
            <a:pPr algn="ctr">
              <a:lnSpc>
                <a:spcPct val="80000"/>
              </a:lnSpc>
            </a:pPr>
            <a:endParaRPr lang="nl-NL" sz="4000" smtClean="0">
              <a:solidFill>
                <a:schemeClr val="bg1"/>
              </a:solidFill>
              <a:latin typeface="Verdana" pitchFamily="34" charset="0"/>
              <a:sym typeface="Wingdings" pitchFamily="2" charset="2"/>
            </a:endParaRPr>
          </a:p>
          <a:p>
            <a:pPr algn="ctr">
              <a:lnSpc>
                <a:spcPct val="80000"/>
              </a:lnSpc>
            </a:pPr>
            <a:r>
              <a:rPr lang="nl-NL" sz="4000" smtClean="0">
                <a:solidFill>
                  <a:srgbClr val="E7E7E7"/>
                </a:solidFill>
                <a:latin typeface="Verdana" pitchFamily="34" charset="0"/>
                <a:sym typeface="Wingdings" pitchFamily="2" charset="2"/>
              </a:rPr>
              <a:t>Decentrale Opwek in het Energieakkoord voor Duurzame Groei</a:t>
            </a:r>
          </a:p>
          <a:p>
            <a:pPr algn="ctr">
              <a:lnSpc>
                <a:spcPct val="80000"/>
              </a:lnSpc>
            </a:pPr>
            <a:endParaRPr lang="nl-NL" sz="4000" smtClean="0">
              <a:solidFill>
                <a:srgbClr val="E7E7E7"/>
              </a:solidFill>
              <a:latin typeface="Verdana" pitchFamily="34" charset="0"/>
              <a:sym typeface="Wingdings" pitchFamily="2" charset="2"/>
            </a:endParaRPr>
          </a:p>
          <a:p>
            <a:pPr>
              <a:lnSpc>
                <a:spcPct val="80000"/>
              </a:lnSpc>
            </a:pPr>
            <a:r>
              <a:rPr lang="nl-NL" sz="1900" smtClean="0">
                <a:solidFill>
                  <a:srgbClr val="E7E7E7"/>
                </a:solidFill>
                <a:latin typeface="Verdana" pitchFamily="34" charset="0"/>
                <a:sym typeface="Wingdings" pitchFamily="2" charset="2"/>
              </a:rPr>
              <a:t>Monique J. van Eijkelenburg @mjvaneijkelenbu</a:t>
            </a:r>
          </a:p>
          <a:p>
            <a:pPr>
              <a:lnSpc>
                <a:spcPct val="80000"/>
              </a:lnSpc>
            </a:pPr>
            <a:r>
              <a:rPr lang="nl-NL" sz="1900" smtClean="0">
                <a:solidFill>
                  <a:srgbClr val="E7E7E7"/>
                </a:solidFill>
                <a:latin typeface="Verdana" pitchFamily="34" charset="0"/>
                <a:sym typeface="Wingdings" pitchFamily="2" charset="2"/>
              </a:rPr>
              <a:t>Directeur Strategie</a:t>
            </a:r>
          </a:p>
          <a:p>
            <a:pPr>
              <a:lnSpc>
                <a:spcPct val="80000"/>
              </a:lnSpc>
            </a:pPr>
            <a:r>
              <a:rPr lang="nl-NL" sz="1900" smtClean="0">
                <a:solidFill>
                  <a:srgbClr val="E7E7E7"/>
                </a:solidFill>
                <a:latin typeface="Verdana" pitchFamily="34" charset="0"/>
                <a:sym typeface="Wingdings" pitchFamily="2" charset="2"/>
              </a:rPr>
              <a:t>Duurzame Energie Koepel </a:t>
            </a:r>
          </a:p>
          <a:p>
            <a:pPr>
              <a:lnSpc>
                <a:spcPct val="80000"/>
              </a:lnSpc>
            </a:pPr>
            <a:r>
              <a:rPr lang="nl-NL" sz="1900" smtClean="0">
                <a:solidFill>
                  <a:srgbClr val="E7E7E7"/>
                </a:solidFill>
                <a:latin typeface="Verdana" pitchFamily="34" charset="0"/>
                <a:sym typeface="Wingdings" pitchFamily="2" charset="2"/>
              </a:rPr>
              <a:t>16 april 2014 /   Inzet en regelgeving Mini-Windturbines</a:t>
            </a:r>
            <a:endParaRPr lang="nl-NL" sz="1700" smtClean="0">
              <a:solidFill>
                <a:srgbClr val="E7E7E7"/>
              </a:solidFill>
              <a:latin typeface="Verdana" pitchFamily="34" charset="0"/>
              <a:sym typeface="Wingdings" pitchFamily="2" charset="2"/>
            </a:endParaRPr>
          </a:p>
          <a:p>
            <a:pPr>
              <a:lnSpc>
                <a:spcPct val="80000"/>
              </a:lnSpc>
            </a:pPr>
            <a:endParaRPr lang="nl-NL" sz="1400" b="1" smtClean="0">
              <a:solidFill>
                <a:srgbClr val="E7E7E7"/>
              </a:solidFill>
              <a:latin typeface="Verdana" pitchFamily="34" charset="0"/>
            </a:endParaRPr>
          </a:p>
          <a:p>
            <a:pPr>
              <a:lnSpc>
                <a:spcPct val="80000"/>
              </a:lnSpc>
            </a:pPr>
            <a:endParaRPr lang="nl-NL" sz="1400" b="1" smtClean="0">
              <a:solidFill>
                <a:srgbClr val="E7E7E7"/>
              </a:solidFill>
              <a:latin typeface="Verdana" pitchFamily="34" charset="0"/>
            </a:endParaRPr>
          </a:p>
          <a:p>
            <a:pPr>
              <a:lnSpc>
                <a:spcPct val="80000"/>
              </a:lnSpc>
            </a:pPr>
            <a:r>
              <a:rPr lang="nl-NL" sz="1200" b="1" smtClean="0">
                <a:solidFill>
                  <a:srgbClr val="E7E7E7"/>
                </a:solidFill>
                <a:latin typeface="Verdana" pitchFamily="34" charset="0"/>
              </a:rPr>
              <a:t/>
            </a:r>
            <a:br>
              <a:rPr lang="nl-NL" sz="1200" b="1" smtClean="0">
                <a:solidFill>
                  <a:srgbClr val="E7E7E7"/>
                </a:solidFill>
                <a:latin typeface="Verdana" pitchFamily="34" charset="0"/>
              </a:rPr>
            </a:br>
            <a:r>
              <a:rPr lang="nl-NL" sz="1400" smtClean="0">
                <a:solidFill>
                  <a:srgbClr val="E7E7E7"/>
                </a:solidFill>
                <a:latin typeface="Verdana" pitchFamily="34" charset="0"/>
              </a:rPr>
              <a:t/>
            </a:r>
            <a:br>
              <a:rPr lang="nl-NL" sz="1400" smtClean="0">
                <a:solidFill>
                  <a:srgbClr val="E7E7E7"/>
                </a:solidFill>
                <a:latin typeface="Verdana" pitchFamily="34" charset="0"/>
              </a:rPr>
            </a:br>
            <a:endParaRPr lang="en-US" sz="1400" smtClean="0">
              <a:solidFill>
                <a:srgbClr val="E7E7E7"/>
              </a:solidFill>
              <a:latin typeface="Verdana" pitchFamily="34" charset="0"/>
            </a:endParaRPr>
          </a:p>
          <a:p>
            <a:pPr>
              <a:lnSpc>
                <a:spcPct val="80000"/>
              </a:lnSpc>
            </a:pPr>
            <a:endParaRPr lang="en-US" sz="1400" smtClean="0">
              <a:latin typeface="Verdana" pitchFamily="34" charset="0"/>
            </a:endParaRPr>
          </a:p>
        </p:txBody>
      </p:sp>
      <p:grpSp>
        <p:nvGrpSpPr>
          <p:cNvPr id="157699" name="Groep 12"/>
          <p:cNvGrpSpPr>
            <a:grpSpLocks/>
          </p:cNvGrpSpPr>
          <p:nvPr/>
        </p:nvGrpSpPr>
        <p:grpSpPr bwMode="auto">
          <a:xfrm>
            <a:off x="0" y="0"/>
            <a:ext cx="8961438" cy="1666875"/>
            <a:chOff x="0" y="0"/>
            <a:chExt cx="9144000" cy="1700808"/>
          </a:xfrm>
        </p:grpSpPr>
        <p:pic>
          <p:nvPicPr>
            <p:cNvPr id="157701" name="Tijdelijke aanduiding voor inhoud 3" descr="Logo Duurzame Energie Koepel.jpg"/>
            <p:cNvPicPr>
              <a:picLocks noChangeAspect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7375178" y="0"/>
              <a:ext cx="1760187" cy="17008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5" name="Rechte verbindingslijn 14"/>
            <p:cNvCxnSpPr/>
            <p:nvPr/>
          </p:nvCxnSpPr>
          <p:spPr>
            <a:xfrm flipH="1">
              <a:off x="0" y="1700808"/>
              <a:ext cx="91440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7700" name="Titel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291512" cy="292100"/>
          </a:xfrm>
        </p:spPr>
        <p:txBody>
          <a:bodyPr/>
          <a:lstStyle/>
          <a:p>
            <a:endParaRPr lang="nl-NL" smtClean="0">
              <a:latin typeface="Verdan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675" name="Object 1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3675" name="think-cell Slide" r:id="rId6" imgW="360" imgH="360" progId="">
              <p:embed/>
            </p:oleObj>
          </a:graphicData>
        </a:graphic>
      </p:graphicFrame>
      <p:sp>
        <p:nvSpPr>
          <p:cNvPr id="113676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nl-NL" sz="1600">
              <a:sym typeface="Verdana" pitchFamily="34" charset="0"/>
            </a:endParaRPr>
          </a:p>
        </p:txBody>
      </p:sp>
      <p:pic>
        <p:nvPicPr>
          <p:cNvPr id="113677" name="Tijdelijke aanduiding voor inhoud 3" descr="Logo Duurzame Energie Koepel.jp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024813" y="0"/>
            <a:ext cx="936625" cy="90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3678" name="Afbeelding 9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6118225"/>
            <a:ext cx="901700" cy="601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Afgeronde rechthoek 2"/>
          <p:cNvSpPr/>
          <p:nvPr/>
        </p:nvSpPr>
        <p:spPr>
          <a:xfrm>
            <a:off x="257175" y="904875"/>
            <a:ext cx="8355013" cy="501015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1">
              <a:lnSpc>
                <a:spcPct val="150000"/>
              </a:lnSpc>
              <a:defRPr/>
            </a:pPr>
            <a:endParaRPr lang="nl-NL" sz="3600" dirty="0">
              <a:solidFill>
                <a:schemeClr val="tx2">
                  <a:lumMod val="75000"/>
                </a:schemeClr>
              </a:solidFill>
              <a:latin typeface="Calibri"/>
            </a:endParaRPr>
          </a:p>
        </p:txBody>
      </p:sp>
      <p:sp>
        <p:nvSpPr>
          <p:cNvPr id="4" name="Afgeronde rechthoek 3"/>
          <p:cNvSpPr/>
          <p:nvPr/>
        </p:nvSpPr>
        <p:spPr>
          <a:xfrm>
            <a:off x="257175" y="223838"/>
            <a:ext cx="7243763" cy="457200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nl-NL" sz="2400" dirty="0">
                <a:latin typeface="Calibri" panose="020F0502020204030204" pitchFamily="34" charset="0"/>
              </a:rPr>
              <a:t>“Decentrale opwek”- zonne-energie</a:t>
            </a:r>
            <a:endParaRPr lang="nl-NL" sz="2400" dirty="0">
              <a:solidFill>
                <a:schemeClr val="tx1"/>
              </a:solidFill>
            </a:endParaRPr>
          </a:p>
        </p:txBody>
      </p:sp>
      <p:pic>
        <p:nvPicPr>
          <p:cNvPr id="113681" name="Picture 3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38188" y="1362075"/>
            <a:ext cx="5430837" cy="303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3682" name="Picture 4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205538" y="904875"/>
            <a:ext cx="1420812" cy="2135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3683" name="Picture 5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6383338" y="2419350"/>
            <a:ext cx="1484312" cy="148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3684" name="Picture 7" descr="https://encrypted-tbn1.gstatic.com/images?q=tbn:ANd9GcR_psewnoiUzzmRsYlkJK8iAwAwYsOwblLgTPCyIBLRBalOgOEa">
            <a:hlinkClick r:id="rId12"/>
          </p:cNvPr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5311775" y="3783013"/>
            <a:ext cx="3181350" cy="143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3685" name="Picture 8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3841750" y="4237038"/>
            <a:ext cx="2220913" cy="149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717" name="Object 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5717" name="think-cell Slide" r:id="rId6" imgW="360" imgH="360" progId="">
              <p:embed/>
            </p:oleObj>
          </a:graphicData>
        </a:graphic>
      </p:graphicFrame>
      <p:sp>
        <p:nvSpPr>
          <p:cNvPr id="115718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nl-NL" sz="1600">
              <a:sym typeface="Verdana" pitchFamily="34" charset="0"/>
            </a:endParaRPr>
          </a:p>
        </p:txBody>
      </p:sp>
      <p:pic>
        <p:nvPicPr>
          <p:cNvPr id="115719" name="Tijdelijke aanduiding voor inhoud 3" descr="Logo Duurzame Energie Koepel.jp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024813" y="0"/>
            <a:ext cx="936625" cy="90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5720" name="Afbeelding 9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6118225"/>
            <a:ext cx="901700" cy="601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Afgeronde rechthoek 2"/>
          <p:cNvSpPr/>
          <p:nvPr/>
        </p:nvSpPr>
        <p:spPr>
          <a:xfrm>
            <a:off x="257175" y="904875"/>
            <a:ext cx="8355013" cy="501015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00100" lvl="1" indent="-342900">
              <a:lnSpc>
                <a:spcPct val="150000"/>
              </a:lnSpc>
              <a:buFont typeface="Arial" charset="0"/>
              <a:buChar char="•"/>
              <a:defRPr/>
            </a:pPr>
            <a:r>
              <a:rPr lang="nl-NL" sz="2400">
                <a:solidFill>
                  <a:srgbClr val="1F125E"/>
                </a:solidFill>
                <a:latin typeface="Calibri" pitchFamily="34" charset="0"/>
                <a:cs typeface="Arial" charset="0"/>
              </a:rPr>
              <a:t>Levert de staat 5,5 mlrd per jaar</a:t>
            </a:r>
          </a:p>
          <a:p>
            <a:pPr marL="800100" lvl="1" indent="-342900">
              <a:lnSpc>
                <a:spcPct val="150000"/>
              </a:lnSpc>
              <a:buFont typeface="Arial" charset="0"/>
              <a:buChar char="•"/>
              <a:defRPr/>
            </a:pPr>
            <a:r>
              <a:rPr lang="nl-NL" sz="2400">
                <a:solidFill>
                  <a:srgbClr val="1F125E"/>
                </a:solidFill>
                <a:latin typeface="Calibri" pitchFamily="34" charset="0"/>
                <a:cs typeface="Arial" charset="0"/>
              </a:rPr>
              <a:t>“de vervuiler betaald”- reversed</a:t>
            </a:r>
          </a:p>
          <a:p>
            <a:pPr marL="800100" lvl="1" indent="-342900">
              <a:lnSpc>
                <a:spcPct val="150000"/>
              </a:lnSpc>
              <a:buFont typeface="Arial" charset="0"/>
              <a:buChar char="•"/>
              <a:defRPr/>
            </a:pPr>
            <a:r>
              <a:rPr lang="nl-NL" sz="2400">
                <a:solidFill>
                  <a:srgbClr val="1F125E"/>
                </a:solidFill>
                <a:latin typeface="Calibri" pitchFamily="34" charset="0"/>
                <a:cs typeface="Arial" charset="0"/>
              </a:rPr>
              <a:t>Vooral gekoppeld aan gebruik van fossiele energie</a:t>
            </a:r>
          </a:p>
          <a:p>
            <a:pPr marL="800100" lvl="1" indent="-342900">
              <a:lnSpc>
                <a:spcPct val="150000"/>
              </a:lnSpc>
              <a:buFont typeface="Arial" charset="0"/>
              <a:buChar char="•"/>
              <a:defRPr/>
            </a:pPr>
            <a:r>
              <a:rPr lang="nl-NL" sz="2400">
                <a:solidFill>
                  <a:srgbClr val="1F125E"/>
                </a:solidFill>
                <a:latin typeface="Calibri" pitchFamily="34" charset="0"/>
                <a:cs typeface="Arial" charset="0"/>
              </a:rPr>
              <a:t>Nu vrijstelling: hernieuwbaar opgewekt, achter de meter, voor eigen gebruik + PC-roos korting</a:t>
            </a:r>
          </a:p>
          <a:p>
            <a:pPr marL="800100" lvl="1" indent="-342900">
              <a:lnSpc>
                <a:spcPct val="150000"/>
              </a:lnSpc>
              <a:buFont typeface="Arial" charset="0"/>
              <a:buChar char="•"/>
              <a:defRPr/>
            </a:pPr>
            <a:r>
              <a:rPr lang="nl-NL" sz="2400">
                <a:solidFill>
                  <a:srgbClr val="1F125E"/>
                </a:solidFill>
                <a:latin typeface="Calibri" pitchFamily="34" charset="0"/>
                <a:cs typeface="Arial" charset="0"/>
              </a:rPr>
              <a:t>Vb. PV/miniwind: Voor iedere 1 mln huishoudens: ca. 300-350 mln derving EB en ca. 200 mln BTW</a:t>
            </a:r>
          </a:p>
          <a:p>
            <a:pPr marL="800100" lvl="1" indent="-342900">
              <a:lnSpc>
                <a:spcPct val="150000"/>
              </a:lnSpc>
              <a:buFont typeface="Arial" charset="0"/>
              <a:buChar char="•"/>
              <a:defRPr/>
            </a:pPr>
            <a:r>
              <a:rPr lang="nl-NL" sz="2400">
                <a:solidFill>
                  <a:srgbClr val="1F125E"/>
                </a:solidFill>
                <a:latin typeface="Calibri" pitchFamily="34" charset="0"/>
                <a:cs typeface="Arial" charset="0"/>
              </a:rPr>
              <a:t>Socialiseren?????</a:t>
            </a:r>
          </a:p>
          <a:p>
            <a:pPr marL="800100" lvl="1" indent="-342900">
              <a:lnSpc>
                <a:spcPct val="150000"/>
              </a:lnSpc>
              <a:buFont typeface="Arial" charset="0"/>
              <a:buChar char="•"/>
              <a:defRPr/>
            </a:pPr>
            <a:r>
              <a:rPr lang="nl-NL" sz="2400">
                <a:solidFill>
                  <a:srgbClr val="1F125E"/>
                </a:solidFill>
                <a:latin typeface="Calibri" pitchFamily="34" charset="0"/>
                <a:cs typeface="Arial" charset="0"/>
              </a:rPr>
              <a:t>Kropje sla- discussie</a:t>
            </a:r>
          </a:p>
        </p:txBody>
      </p:sp>
      <p:sp>
        <p:nvSpPr>
          <p:cNvPr id="4" name="Afgeronde rechthoek 3"/>
          <p:cNvSpPr/>
          <p:nvPr/>
        </p:nvSpPr>
        <p:spPr>
          <a:xfrm>
            <a:off x="257175" y="223838"/>
            <a:ext cx="7477125" cy="457200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nl-NL" sz="2400" dirty="0">
                <a:latin typeface="Calibri" panose="020F0502020204030204" pitchFamily="34" charset="0"/>
              </a:rPr>
              <a:t>Energiebelasting….”flexibeler kunnen we het niet maken”</a:t>
            </a:r>
            <a:endParaRPr lang="nl-NL" sz="2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438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4386" name="think-cell Slide" r:id="rId6" imgW="360" imgH="360" progId="">
              <p:embed/>
            </p:oleObj>
          </a:graphicData>
        </a:graphic>
      </p:graphicFrame>
      <p:sp>
        <p:nvSpPr>
          <p:cNvPr id="144387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nl-NL" sz="1600">
              <a:sym typeface="Verdana" pitchFamily="34" charset="0"/>
            </a:endParaRPr>
          </a:p>
        </p:txBody>
      </p:sp>
      <p:pic>
        <p:nvPicPr>
          <p:cNvPr id="144388" name="Tijdelijke aanduiding voor inhoud 3" descr="Logo Duurzame Energie Koepel.jp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024813" y="0"/>
            <a:ext cx="936625" cy="90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4389" name="Afbeelding 9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6118225"/>
            <a:ext cx="901700" cy="601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Afgeronde rechthoek 2"/>
          <p:cNvSpPr/>
          <p:nvPr/>
        </p:nvSpPr>
        <p:spPr>
          <a:xfrm>
            <a:off x="257175" y="904875"/>
            <a:ext cx="8355013" cy="501015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00100" lvl="1" indent="-342900">
              <a:lnSpc>
                <a:spcPct val="150000"/>
              </a:lnSpc>
              <a:buFont typeface="Arial" charset="0"/>
              <a:buChar char="•"/>
              <a:defRPr/>
            </a:pPr>
            <a:r>
              <a:rPr lang="nl-NL" sz="2400">
                <a:solidFill>
                  <a:srgbClr val="1F125E"/>
                </a:solidFill>
                <a:latin typeface="Calibri" pitchFamily="34" charset="0"/>
                <a:cs typeface="Arial" charset="0"/>
              </a:rPr>
              <a:t>STROOM / samenvoegen Elektriciteitswet en Gaswet (brief min. EZ eind april verwacht in Tweede Kamer)</a:t>
            </a:r>
          </a:p>
          <a:p>
            <a:pPr marL="800100" lvl="1" indent="-342900">
              <a:lnSpc>
                <a:spcPct val="150000"/>
              </a:lnSpc>
              <a:buFont typeface="Arial" charset="0"/>
              <a:buChar char="•"/>
              <a:defRPr/>
            </a:pPr>
            <a:r>
              <a:rPr lang="nl-NL" sz="2400">
                <a:solidFill>
                  <a:srgbClr val="1F125E"/>
                </a:solidFill>
                <a:latin typeface="Calibri" pitchFamily="34" charset="0"/>
                <a:cs typeface="Arial" charset="0"/>
              </a:rPr>
              <a:t>Omgevingswet (beleidsbrief min. I&amp;M voor/in zomer naar Tweede Kamer), incl. advies Raad van State (en concept? AmvB's?  </a:t>
            </a:r>
          </a:p>
          <a:p>
            <a:pPr marL="800100" lvl="1" indent="-342900">
              <a:lnSpc>
                <a:spcPct val="150000"/>
              </a:lnSpc>
              <a:buFont typeface="Arial" charset="0"/>
              <a:buChar char="•"/>
              <a:defRPr/>
            </a:pPr>
            <a:r>
              <a:rPr lang="nl-NL" sz="2400">
                <a:solidFill>
                  <a:srgbClr val="1F125E"/>
                </a:solidFill>
                <a:latin typeface="Calibri" pitchFamily="34" charset="0"/>
                <a:cs typeface="Arial" charset="0"/>
              </a:rPr>
              <a:t>Ecodesign / keurmerk / Energieprestatiekeur apparaten en gebouwen / opleiding installateurs</a:t>
            </a:r>
          </a:p>
          <a:p>
            <a:pPr marL="800100" lvl="1" indent="-342900">
              <a:lnSpc>
                <a:spcPct val="150000"/>
              </a:lnSpc>
              <a:buFont typeface="Arial" charset="0"/>
              <a:buChar char="•"/>
              <a:defRPr/>
            </a:pPr>
            <a:r>
              <a:rPr lang="nl-NL" sz="2400">
                <a:solidFill>
                  <a:srgbClr val="1F125E"/>
                </a:solidFill>
                <a:latin typeface="Calibri" pitchFamily="34" charset="0"/>
                <a:cs typeface="Arial" charset="0"/>
              </a:rPr>
              <a:t>zelfregulering miniwind: factsheet plaatsingscriteria</a:t>
            </a:r>
          </a:p>
          <a:p>
            <a:pPr marL="800100" lvl="1" indent="-342900">
              <a:lnSpc>
                <a:spcPct val="150000"/>
              </a:lnSpc>
              <a:buFont typeface="Arial" charset="0"/>
              <a:buChar char="•"/>
              <a:defRPr/>
            </a:pPr>
            <a:r>
              <a:rPr lang="nl-NL" sz="2400">
                <a:solidFill>
                  <a:srgbClr val="1F125E"/>
                </a:solidFill>
                <a:latin typeface="Calibri" pitchFamily="34" charset="0"/>
                <a:cs typeface="Arial" charset="0"/>
              </a:rPr>
              <a:t>registratie opgesteld vermogen achter de meter</a:t>
            </a:r>
          </a:p>
        </p:txBody>
      </p:sp>
      <p:sp>
        <p:nvSpPr>
          <p:cNvPr id="4" name="Afgeronde rechthoek 3"/>
          <p:cNvSpPr/>
          <p:nvPr/>
        </p:nvSpPr>
        <p:spPr>
          <a:xfrm>
            <a:off x="257175" y="223838"/>
            <a:ext cx="7477125" cy="457200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nl-NL" sz="2400">
                <a:solidFill>
                  <a:srgbClr val="FFFFFF"/>
                </a:solidFill>
                <a:latin typeface="Calibri" pitchFamily="34" charset="0"/>
                <a:cs typeface="Arial" charset="0"/>
              </a:rPr>
              <a:t>Op handen zijnde wijzigingen wet- en regelgeving”</a:t>
            </a:r>
            <a:endParaRPr lang="nl-NL" sz="2400">
              <a:solidFill>
                <a:schemeClr val="tx1"/>
              </a:solidFill>
              <a:cs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6740" name="Object 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6740" name="think-cell Slide" r:id="rId6" imgW="360" imgH="360" progId="">
              <p:embed/>
            </p:oleObj>
          </a:graphicData>
        </a:graphic>
      </p:graphicFrame>
      <p:sp>
        <p:nvSpPr>
          <p:cNvPr id="116741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nl-NL" sz="1600">
              <a:sym typeface="Verdana" pitchFamily="34" charset="0"/>
            </a:endParaRPr>
          </a:p>
        </p:txBody>
      </p:sp>
      <p:pic>
        <p:nvPicPr>
          <p:cNvPr id="116742" name="Tijdelijke aanduiding voor inhoud 3" descr="Logo Duurzame Energie Koepel.jp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024813" y="0"/>
            <a:ext cx="936625" cy="90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6743" name="AutoShape 42" descr="Biogas"/>
          <p:cNvSpPr>
            <a:spLocks noChangeArrowheads="1"/>
          </p:cNvSpPr>
          <p:nvPr/>
        </p:nvSpPr>
        <p:spPr bwMode="auto">
          <a:xfrm>
            <a:off x="1539875" y="6118225"/>
            <a:ext cx="661988" cy="592138"/>
          </a:xfrm>
          <a:prstGeom prst="roundRect">
            <a:avLst>
              <a:gd name="adj" fmla="val 16667"/>
            </a:avLst>
          </a:prstGeom>
          <a:blipFill dpi="0" rotWithShape="1">
            <a:blip r:embed="rId8"/>
            <a:srcRect/>
            <a:stretch>
              <a:fillRect/>
            </a:stretch>
          </a:blipFill>
          <a:ln w="9525" algn="ctr">
            <a:solidFill>
              <a:srgbClr val="0066CC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nl-NL"/>
          </a:p>
        </p:txBody>
      </p:sp>
      <p:sp>
        <p:nvSpPr>
          <p:cNvPr id="116744" name="AutoShape 28" descr="Biogas2"/>
          <p:cNvSpPr>
            <a:spLocks noChangeArrowheads="1"/>
          </p:cNvSpPr>
          <p:nvPr/>
        </p:nvSpPr>
        <p:spPr bwMode="auto">
          <a:xfrm>
            <a:off x="2052638" y="6118225"/>
            <a:ext cx="447675" cy="592138"/>
          </a:xfrm>
          <a:prstGeom prst="roundRect">
            <a:avLst>
              <a:gd name="adj" fmla="val 16667"/>
            </a:avLst>
          </a:prstGeom>
          <a:blipFill dpi="0" rotWithShape="1">
            <a:blip r:embed="rId9"/>
            <a:srcRect/>
            <a:stretch>
              <a:fillRect/>
            </a:stretch>
          </a:blipFill>
          <a:ln w="9525" algn="ctr">
            <a:solidFill>
              <a:srgbClr val="0066CC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nl-NL"/>
          </a:p>
        </p:txBody>
      </p:sp>
      <p:pic>
        <p:nvPicPr>
          <p:cNvPr id="116745" name="Afbeelding 4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6108700"/>
            <a:ext cx="738188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6746" name="Afbeelding 9"/>
          <p:cNvPicPr>
            <a:picLocks noChangeAspect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738188" y="6118225"/>
            <a:ext cx="901700" cy="601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6747" name="Afbeelding 16" descr="banner_4.png"/>
          <p:cNvPicPr>
            <a:picLocks noChangeAspect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3967163" y="6134100"/>
            <a:ext cx="1614487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6748" name="Afbeelding 17" descr="banner_5.png"/>
          <p:cNvPicPr>
            <a:picLocks noChangeAspect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2452688" y="6111875"/>
            <a:ext cx="1616075" cy="598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6749" name="Afbeelding 23" descr="http://www.tocardo.com/siteAssets/images/Projects/18%20-%20den%20oever_croppedwide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5581650" y="6134100"/>
            <a:ext cx="1247775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Afgeronde rechthoek 2"/>
          <p:cNvSpPr/>
          <p:nvPr/>
        </p:nvSpPr>
        <p:spPr>
          <a:xfrm>
            <a:off x="257175" y="904875"/>
            <a:ext cx="8355013" cy="501015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1">
              <a:lnSpc>
                <a:spcPct val="150000"/>
              </a:lnSpc>
              <a:defRPr/>
            </a:pPr>
            <a:r>
              <a:rPr lang="nl-NL" sz="2400" dirty="0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“Energiebelasting 2.0” nodig om verduurzaming van de energievoorziening en decentrale opwek te faciliteren</a:t>
            </a:r>
          </a:p>
          <a:p>
            <a:pPr lvl="1">
              <a:lnSpc>
                <a:spcPct val="150000"/>
              </a:lnSpc>
              <a:defRPr/>
            </a:pPr>
            <a:r>
              <a:rPr lang="nl-NL" sz="2400" dirty="0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………………..wie durft het aan?</a:t>
            </a:r>
          </a:p>
          <a:p>
            <a:pPr lvl="1">
              <a:lnSpc>
                <a:spcPct val="150000"/>
              </a:lnSpc>
              <a:defRPr/>
            </a:pPr>
            <a:endParaRPr lang="nl-NL" sz="2400" dirty="0">
              <a:solidFill>
                <a:schemeClr val="tx2">
                  <a:lumMod val="75000"/>
                </a:schemeClr>
              </a:solidFill>
              <a:latin typeface="Calibri" pitchFamily="34" charset="0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nl-NL" sz="2400" dirty="0">
              <a:solidFill>
                <a:schemeClr val="tx2">
                  <a:lumMod val="75000"/>
                </a:schemeClr>
              </a:solidFill>
              <a:latin typeface="Calibri" pitchFamily="34" charset="0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nl-NL" sz="2400" dirty="0">
              <a:solidFill>
                <a:schemeClr val="tx2">
                  <a:lumMod val="75000"/>
                </a:schemeClr>
              </a:solidFill>
              <a:latin typeface="Calibri" pitchFamily="34" charset="0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nl-NL" sz="2400" dirty="0">
              <a:solidFill>
                <a:schemeClr val="tx2">
                  <a:lumMod val="75000"/>
                </a:schemeClr>
              </a:solidFill>
              <a:latin typeface="Calibri" pitchFamily="34" charset="0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nl-NL" sz="2400" dirty="0">
              <a:solidFill>
                <a:schemeClr val="tx2">
                  <a:lumMod val="75000"/>
                </a:schemeClr>
              </a:solidFill>
              <a:latin typeface="Calibri" pitchFamily="34" charset="0"/>
            </a:endParaRPr>
          </a:p>
        </p:txBody>
      </p:sp>
      <p:sp>
        <p:nvSpPr>
          <p:cNvPr id="4" name="Afgeronde rechthoek 3"/>
          <p:cNvSpPr/>
          <p:nvPr/>
        </p:nvSpPr>
        <p:spPr>
          <a:xfrm>
            <a:off x="257175" y="223838"/>
            <a:ext cx="7477125" cy="457200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nl-NL" sz="2400" dirty="0">
                <a:latin typeface="Calibri" panose="020F0502020204030204" pitchFamily="34" charset="0"/>
              </a:rPr>
              <a:t>Energiebelasting….”flexibeler kunnen we het niet maken”</a:t>
            </a:r>
            <a:endParaRPr lang="nl-NL" sz="2400" dirty="0">
              <a:solidFill>
                <a:schemeClr val="tx1"/>
              </a:solidFill>
            </a:endParaRPr>
          </a:p>
        </p:txBody>
      </p:sp>
      <p:pic>
        <p:nvPicPr>
          <p:cNvPr id="14" name="Picture 3" descr="kicken"/>
          <p:cNvPicPr>
            <a:picLocks noChangeAspect="1" noChangeArrowheads="1"/>
          </p:cNvPicPr>
          <p:nvPr/>
        </p:nvPicPr>
        <p:blipFill>
          <a:blip r:embed="rId15"/>
          <a:srcRect l="14442"/>
          <a:stretch>
            <a:fillRect/>
          </a:stretch>
        </p:blipFill>
        <p:spPr bwMode="auto">
          <a:xfrm>
            <a:off x="2052638" y="2898775"/>
            <a:ext cx="4497387" cy="294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5480" name="Object 8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5480" name="think-cell Slide" r:id="rId6" imgW="360" imgH="360" progId="">
              <p:embed/>
            </p:oleObj>
          </a:graphicData>
        </a:graphic>
      </p:graphicFrame>
      <p:sp>
        <p:nvSpPr>
          <p:cNvPr id="105481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nl-NL" sz="1600">
              <a:sym typeface="Verdana" pitchFamily="34" charset="0"/>
            </a:endParaRPr>
          </a:p>
        </p:txBody>
      </p:sp>
      <p:pic>
        <p:nvPicPr>
          <p:cNvPr id="105482" name="Tijdelijke aanduiding voor inhoud 3" descr="Logo Duurzame Energie Koepel.jp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024813" y="0"/>
            <a:ext cx="936625" cy="90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5483" name="AutoShape 42" descr="Biogas"/>
          <p:cNvSpPr>
            <a:spLocks noChangeArrowheads="1"/>
          </p:cNvSpPr>
          <p:nvPr/>
        </p:nvSpPr>
        <p:spPr bwMode="auto">
          <a:xfrm>
            <a:off x="1539875" y="6118225"/>
            <a:ext cx="661988" cy="592138"/>
          </a:xfrm>
          <a:prstGeom prst="roundRect">
            <a:avLst>
              <a:gd name="adj" fmla="val 16667"/>
            </a:avLst>
          </a:prstGeom>
          <a:blipFill dpi="0" rotWithShape="1">
            <a:blip r:embed="rId8"/>
            <a:srcRect/>
            <a:stretch>
              <a:fillRect/>
            </a:stretch>
          </a:blipFill>
          <a:ln w="9525" algn="ctr">
            <a:solidFill>
              <a:srgbClr val="0066CC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nl-NL"/>
          </a:p>
        </p:txBody>
      </p:sp>
      <p:sp>
        <p:nvSpPr>
          <p:cNvPr id="105484" name="AutoShape 28" descr="Biogas2"/>
          <p:cNvSpPr>
            <a:spLocks noChangeArrowheads="1"/>
          </p:cNvSpPr>
          <p:nvPr/>
        </p:nvSpPr>
        <p:spPr bwMode="auto">
          <a:xfrm>
            <a:off x="2052638" y="6118225"/>
            <a:ext cx="447675" cy="592138"/>
          </a:xfrm>
          <a:prstGeom prst="roundRect">
            <a:avLst>
              <a:gd name="adj" fmla="val 16667"/>
            </a:avLst>
          </a:prstGeom>
          <a:blipFill dpi="0" rotWithShape="1">
            <a:blip r:embed="rId9"/>
            <a:srcRect/>
            <a:stretch>
              <a:fillRect/>
            </a:stretch>
          </a:blipFill>
          <a:ln w="9525" algn="ctr">
            <a:solidFill>
              <a:srgbClr val="0066CC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nl-NL"/>
          </a:p>
        </p:txBody>
      </p:sp>
      <p:pic>
        <p:nvPicPr>
          <p:cNvPr id="105485" name="Afbeelding 4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6108700"/>
            <a:ext cx="738188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486" name="Afbeelding 9"/>
          <p:cNvPicPr>
            <a:picLocks noChangeAspect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738188" y="6118225"/>
            <a:ext cx="901700" cy="601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487" name="Afbeelding 16" descr="banner_4.png"/>
          <p:cNvPicPr>
            <a:picLocks noChangeAspect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3967163" y="6134100"/>
            <a:ext cx="1614487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488" name="Afbeelding 17" descr="banner_5.png"/>
          <p:cNvPicPr>
            <a:picLocks noChangeAspect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2452688" y="6111875"/>
            <a:ext cx="1616075" cy="598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489" name="Afbeelding 23" descr="http://www.tocardo.com/siteAssets/images/Projects/18%20-%20den%20oever_croppedwide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5581650" y="6134100"/>
            <a:ext cx="1247775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Afgeronde rechthoek 2"/>
          <p:cNvSpPr/>
          <p:nvPr/>
        </p:nvSpPr>
        <p:spPr>
          <a:xfrm>
            <a:off x="257175" y="904875"/>
            <a:ext cx="8355013" cy="501015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914400" lvl="1" indent="-457200">
              <a:buFont typeface="Arial" panose="020B0604020202020204" pitchFamily="34" charset="0"/>
              <a:buChar char="•"/>
              <a:defRPr/>
            </a:pPr>
            <a:r>
              <a:rPr lang="en-US" sz="3200" dirty="0" err="1">
                <a:solidFill>
                  <a:srgbClr val="000000"/>
                </a:solidFill>
                <a:latin typeface="Calibri" pitchFamily="34" charset="0"/>
                <a:cs typeface="Arial" charset="0"/>
              </a:rPr>
              <a:t>Energieakkoord</a:t>
            </a:r>
            <a:r>
              <a:rPr lang="en-US" sz="3200" dirty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 in het </a:t>
            </a:r>
            <a:r>
              <a:rPr lang="en-US" sz="3200" dirty="0" err="1">
                <a:solidFill>
                  <a:srgbClr val="000000"/>
                </a:solidFill>
                <a:latin typeface="Calibri" pitchFamily="34" charset="0"/>
                <a:cs typeface="Arial" charset="0"/>
              </a:rPr>
              <a:t>kort</a:t>
            </a:r>
            <a:endParaRPr lang="en-US" sz="3200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  <a:p>
            <a:pPr marL="914400" lvl="1" indent="-457200">
              <a:buFont typeface="Arial" panose="020B0604020202020204" pitchFamily="34" charset="0"/>
              <a:buChar char="•"/>
              <a:defRPr/>
            </a:pPr>
            <a:endParaRPr lang="en-US" sz="3200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  <a:p>
            <a:pPr marL="914400" lvl="1" indent="-457200">
              <a:buFont typeface="Arial" panose="020B0604020202020204" pitchFamily="34" charset="0"/>
              <a:buChar char="•"/>
              <a:defRPr/>
            </a:pPr>
            <a:r>
              <a:rPr lang="en-US" sz="3200" dirty="0" err="1">
                <a:solidFill>
                  <a:srgbClr val="000000"/>
                </a:solidFill>
                <a:latin typeface="Calibri" pitchFamily="34" charset="0"/>
                <a:cs typeface="Arial" charset="0"/>
              </a:rPr>
              <a:t>Decentrale</a:t>
            </a:r>
            <a:r>
              <a:rPr lang="en-US" sz="3200" dirty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 </a:t>
            </a:r>
            <a:r>
              <a:rPr lang="en-US" sz="3200" dirty="0" err="1">
                <a:solidFill>
                  <a:srgbClr val="000000"/>
                </a:solidFill>
                <a:latin typeface="Calibri" pitchFamily="34" charset="0"/>
                <a:cs typeface="Arial" charset="0"/>
              </a:rPr>
              <a:t>opwek</a:t>
            </a:r>
            <a:r>
              <a:rPr lang="en-US" sz="3200" dirty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– issues en scope</a:t>
            </a:r>
          </a:p>
          <a:p>
            <a:pPr marL="914400" lvl="1" indent="-457200">
              <a:buFont typeface="Arial" panose="020B0604020202020204" pitchFamily="34" charset="0"/>
              <a:buChar char="•"/>
              <a:defRPr/>
            </a:pPr>
            <a:endParaRPr lang="en-US" sz="3200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  <a:p>
            <a:pPr marL="914400" lvl="1" indent="-457200">
              <a:buFont typeface="Arial" panose="020B0604020202020204" pitchFamily="34" charset="0"/>
              <a:buChar char="•"/>
              <a:defRPr/>
            </a:pPr>
            <a:r>
              <a:rPr lang="en-US" sz="3200" dirty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Hoe </a:t>
            </a:r>
            <a:r>
              <a:rPr lang="en-US" sz="3200" dirty="0" err="1">
                <a:solidFill>
                  <a:srgbClr val="000000"/>
                </a:solidFill>
                <a:latin typeface="Calibri" pitchFamily="34" charset="0"/>
                <a:cs typeface="Arial" charset="0"/>
              </a:rPr>
              <a:t>houdbaar</a:t>
            </a:r>
            <a:r>
              <a:rPr lang="en-US" sz="3200" dirty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 is </a:t>
            </a:r>
            <a:r>
              <a:rPr lang="en-US" sz="3200" dirty="0" err="1">
                <a:solidFill>
                  <a:srgbClr val="000000"/>
                </a:solidFill>
                <a:latin typeface="Calibri" pitchFamily="34" charset="0"/>
                <a:cs typeface="Arial" charset="0"/>
              </a:rPr>
              <a:t>ons</a:t>
            </a:r>
            <a:r>
              <a:rPr lang="en-US" sz="3200" dirty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 </a:t>
            </a:r>
            <a:r>
              <a:rPr lang="en-US" sz="3200" dirty="0" err="1">
                <a:solidFill>
                  <a:srgbClr val="000000"/>
                </a:solidFill>
                <a:latin typeface="Calibri" pitchFamily="34" charset="0"/>
                <a:cs typeface="Arial" charset="0"/>
              </a:rPr>
              <a:t>energiebelasting</a:t>
            </a:r>
            <a:r>
              <a:rPr lang="en-US" sz="3200" dirty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 </a:t>
            </a:r>
            <a:r>
              <a:rPr lang="en-US" sz="3200" dirty="0" err="1">
                <a:solidFill>
                  <a:srgbClr val="000000"/>
                </a:solidFill>
                <a:latin typeface="Calibri" pitchFamily="34" charset="0"/>
                <a:cs typeface="Arial" charset="0"/>
              </a:rPr>
              <a:t>systeem</a:t>
            </a:r>
            <a:endParaRPr lang="en-US" sz="3200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  <a:p>
            <a:pPr lvl="1">
              <a:defRPr/>
            </a:pPr>
            <a:endParaRPr lang="nl-NL" sz="2000" i="1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4" name="Afgeronde rechthoek 3"/>
          <p:cNvSpPr/>
          <p:nvPr/>
        </p:nvSpPr>
        <p:spPr>
          <a:xfrm>
            <a:off x="257175" y="223838"/>
            <a:ext cx="7243763" cy="457200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nl-NL" sz="2400" dirty="0">
                <a:latin typeface="Calibri" panose="020F0502020204030204" pitchFamily="34" charset="0"/>
              </a:rPr>
              <a:t>Decentrale opwek in het Energieakkoord</a:t>
            </a:r>
            <a:endParaRPr lang="nl-NL" sz="2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4692" name="Object 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4692" name="think-cell Slide" r:id="rId6" imgW="360" imgH="360" progId="">
              <p:embed/>
            </p:oleObj>
          </a:graphicData>
        </a:graphic>
      </p:graphicFrame>
      <p:sp>
        <p:nvSpPr>
          <p:cNvPr id="114693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nl-NL" sz="1600">
              <a:sym typeface="Verdana" pitchFamily="34" charset="0"/>
            </a:endParaRPr>
          </a:p>
        </p:txBody>
      </p:sp>
      <p:pic>
        <p:nvPicPr>
          <p:cNvPr id="114694" name="Tijdelijke aanduiding voor inhoud 3" descr="Logo Duurzame Energie Koepel.jp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024813" y="0"/>
            <a:ext cx="936625" cy="90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4695" name="Afbeelding 4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6108700"/>
            <a:ext cx="738188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Afgeronde rechthoek 2"/>
          <p:cNvSpPr/>
          <p:nvPr/>
        </p:nvSpPr>
        <p:spPr>
          <a:xfrm>
            <a:off x="257175" y="904875"/>
            <a:ext cx="8355013" cy="501015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nl-NL" sz="2400" dirty="0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Basis voor consistentie in beleid 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nl-NL" sz="2400" dirty="0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Van 4% naar 16% hernieuwbare energie in 10 </a:t>
            </a:r>
            <a:r>
              <a:rPr lang="nl-NL" sz="2400" dirty="0" err="1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jr</a:t>
            </a:r>
            <a:endParaRPr lang="nl-NL" sz="2400" dirty="0">
              <a:solidFill>
                <a:schemeClr val="tx2">
                  <a:lumMod val="75000"/>
                </a:schemeClr>
              </a:solidFill>
              <a:latin typeface="Calibri" pitchFamily="34" charset="0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nl-NL" sz="2400" dirty="0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Kosten 1/3 lager dan uitvoering regeerakkoord 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nl-NL" sz="2400" dirty="0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Extra werkgelegenheid: ca. 60-100.000 </a:t>
            </a:r>
            <a:r>
              <a:rPr lang="nl-NL" sz="2400" dirty="0" err="1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arb.jaren</a:t>
            </a:r>
            <a:endParaRPr lang="nl-NL" sz="2400" dirty="0">
              <a:solidFill>
                <a:schemeClr val="tx2">
                  <a:lumMod val="75000"/>
                </a:schemeClr>
              </a:solidFill>
              <a:latin typeface="Calibri" pitchFamily="34" charset="0"/>
            </a:endParaRP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nl-NL" sz="2400" dirty="0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13-18 </a:t>
            </a:r>
            <a:r>
              <a:rPr lang="nl-NL" sz="2400" dirty="0" err="1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mlrd</a:t>
            </a:r>
            <a:r>
              <a:rPr lang="nl-NL" sz="2400" dirty="0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  extra investeringen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nl-NL" sz="2400" dirty="0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Meer ruimte voor burgers &amp; bedrijven 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nl-NL" sz="2400" dirty="0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Nog niet alles is vastgelegd, maar….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nl-NL" sz="2400" dirty="0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Uitvoering is inmiddels in volle gang!</a:t>
            </a:r>
          </a:p>
        </p:txBody>
      </p:sp>
      <p:sp>
        <p:nvSpPr>
          <p:cNvPr id="4" name="Afgeronde rechthoek 3"/>
          <p:cNvSpPr/>
          <p:nvPr/>
        </p:nvSpPr>
        <p:spPr>
          <a:xfrm>
            <a:off x="257175" y="223838"/>
            <a:ext cx="7243763" cy="457200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nl-NL" sz="2400" dirty="0">
                <a:latin typeface="Calibri" panose="020F0502020204030204" pitchFamily="34" charset="0"/>
              </a:rPr>
              <a:t>Kern van het Energieakkoord</a:t>
            </a:r>
            <a:endParaRPr lang="nl-NL" sz="2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27" name="Object 7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7527" name="think-cell Slide" r:id="rId6" imgW="360" imgH="360" progId="">
              <p:embed/>
            </p:oleObj>
          </a:graphicData>
        </a:graphic>
      </p:graphicFrame>
      <p:sp>
        <p:nvSpPr>
          <p:cNvPr id="107528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nl-NL" sz="1600">
              <a:sym typeface="Verdana" pitchFamily="34" charset="0"/>
            </a:endParaRPr>
          </a:p>
        </p:txBody>
      </p:sp>
      <p:pic>
        <p:nvPicPr>
          <p:cNvPr id="107529" name="Tijdelijke aanduiding voor inhoud 3" descr="Logo Duurzame Energie Koepel.jp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024813" y="0"/>
            <a:ext cx="936625" cy="90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Afgeronde rechthoek 2"/>
          <p:cNvSpPr/>
          <p:nvPr/>
        </p:nvSpPr>
        <p:spPr>
          <a:xfrm>
            <a:off x="257175" y="904875"/>
            <a:ext cx="8355013" cy="501015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1">
              <a:defRPr/>
            </a:pPr>
            <a:r>
              <a:rPr lang="nl-NL" sz="2400" b="1" u="sng">
                <a:solidFill>
                  <a:srgbClr val="1F125E"/>
                </a:solidFill>
                <a:latin typeface="Calibri" pitchFamily="34" charset="0"/>
                <a:cs typeface="Arial" charset="0"/>
              </a:rPr>
              <a:t>Proces:</a:t>
            </a:r>
          </a:p>
          <a:p>
            <a:pPr lvl="1">
              <a:buFont typeface="Courier New" pitchFamily="49" charset="0"/>
              <a:buChar char="o"/>
              <a:defRPr/>
            </a:pPr>
            <a:r>
              <a:rPr lang="nl-NL" sz="1800" i="1">
                <a:solidFill>
                  <a:srgbClr val="1F125E"/>
                </a:solidFill>
                <a:latin typeface="Calibri" pitchFamily="34" charset="0"/>
                <a:cs typeface="Arial" charset="0"/>
              </a:rPr>
              <a:t> &gt; ½ jaar onderhandelen met &gt; 40 partijen</a:t>
            </a:r>
          </a:p>
          <a:p>
            <a:pPr lvl="1">
              <a:buFont typeface="Courier New" pitchFamily="49" charset="0"/>
              <a:buChar char="o"/>
              <a:defRPr/>
            </a:pPr>
            <a:r>
              <a:rPr lang="nl-NL" sz="1800" i="1">
                <a:solidFill>
                  <a:srgbClr val="1F125E"/>
                </a:solidFill>
                <a:latin typeface="Calibri" pitchFamily="34" charset="0"/>
                <a:cs typeface="Arial" charset="0"/>
              </a:rPr>
              <a:t> SER heeft gefaciliteerd, partijen zijn verantwoordelijk voor de uitvoering</a:t>
            </a:r>
          </a:p>
          <a:p>
            <a:pPr lvl="1">
              <a:buFont typeface="Courier New" pitchFamily="49" charset="0"/>
              <a:buChar char="o"/>
              <a:defRPr/>
            </a:pPr>
            <a:r>
              <a:rPr lang="nl-NL" sz="1800" i="1">
                <a:solidFill>
                  <a:srgbClr val="1F125E"/>
                </a:solidFill>
                <a:latin typeface="Calibri" pitchFamily="34" charset="0"/>
                <a:cs typeface="Arial" charset="0"/>
              </a:rPr>
              <a:t> Glas is halfvol, en daarom een begin- nog geen einde </a:t>
            </a:r>
          </a:p>
          <a:p>
            <a:pPr lvl="1">
              <a:lnSpc>
                <a:spcPct val="150000"/>
              </a:lnSpc>
              <a:buFont typeface="Arial" charset="0"/>
              <a:buChar char="•"/>
              <a:defRPr/>
            </a:pPr>
            <a:r>
              <a:rPr lang="nl-NL" sz="1800">
                <a:solidFill>
                  <a:srgbClr val="1F125E"/>
                </a:solidFill>
                <a:latin typeface="Calibri" pitchFamily="34" charset="0"/>
                <a:cs typeface="Arial" charset="0"/>
              </a:rPr>
              <a:t>Uitvoering is inmiddels in volle gang!</a:t>
            </a:r>
          </a:p>
          <a:p>
            <a:pPr lvl="1">
              <a:lnSpc>
                <a:spcPct val="150000"/>
              </a:lnSpc>
              <a:buFont typeface="Arial" charset="0"/>
              <a:buChar char="•"/>
              <a:defRPr/>
            </a:pPr>
            <a:endParaRPr lang="nl-NL" sz="1800">
              <a:solidFill>
                <a:srgbClr val="1F125E"/>
              </a:solidFill>
              <a:latin typeface="Calibri" pitchFamily="34" charset="0"/>
              <a:cs typeface="Arial" charset="0"/>
            </a:endParaRPr>
          </a:p>
          <a:p>
            <a:pPr lvl="1">
              <a:defRPr/>
            </a:pPr>
            <a:r>
              <a:rPr lang="nl-NL" sz="2400" u="sng">
                <a:solidFill>
                  <a:srgbClr val="1F125E"/>
                </a:solidFill>
                <a:latin typeface="Calibri" pitchFamily="34" charset="0"/>
                <a:cs typeface="Arial" charset="0"/>
              </a:rPr>
              <a:t>Doelen:</a:t>
            </a:r>
          </a:p>
          <a:p>
            <a:pPr lvl="1">
              <a:buFont typeface="Courier New" pitchFamily="49" charset="0"/>
              <a:buChar char="o"/>
              <a:defRPr/>
            </a:pPr>
            <a:r>
              <a:rPr lang="nl-NL" sz="2000" i="1">
                <a:solidFill>
                  <a:srgbClr val="1F125E"/>
                </a:solidFill>
                <a:latin typeface="Calibri" pitchFamily="34" charset="0"/>
                <a:cs typeface="Arial" charset="0"/>
              </a:rPr>
              <a:t> </a:t>
            </a:r>
            <a:r>
              <a:rPr lang="nl-NL" sz="1800" i="1">
                <a:solidFill>
                  <a:srgbClr val="1F125E"/>
                </a:solidFill>
                <a:latin typeface="Calibri" pitchFamily="34" charset="0"/>
                <a:cs typeface="Arial" charset="0"/>
              </a:rPr>
              <a:t>Energiebesparing: 1,5% / jr – 100 PJ finaal in 2020 </a:t>
            </a:r>
          </a:p>
          <a:p>
            <a:pPr lvl="1">
              <a:buFont typeface="Courier New" pitchFamily="49" charset="0"/>
              <a:buChar char="o"/>
              <a:defRPr/>
            </a:pPr>
            <a:r>
              <a:rPr lang="nl-NL" sz="1800" i="1">
                <a:solidFill>
                  <a:srgbClr val="1F125E"/>
                </a:solidFill>
                <a:latin typeface="Calibri" pitchFamily="34" charset="0"/>
                <a:cs typeface="Arial" charset="0"/>
              </a:rPr>
              <a:t> Hernieuwbare Energie: 14% in 2020, 16% in 2023</a:t>
            </a:r>
          </a:p>
          <a:p>
            <a:pPr lvl="1">
              <a:buFont typeface="Courier New" pitchFamily="49" charset="0"/>
              <a:buChar char="o"/>
              <a:defRPr/>
            </a:pPr>
            <a:r>
              <a:rPr lang="nl-NL" sz="1800" i="1">
                <a:solidFill>
                  <a:srgbClr val="1F125E"/>
                </a:solidFill>
                <a:latin typeface="Calibri" pitchFamily="34" charset="0"/>
                <a:cs typeface="Arial" charset="0"/>
              </a:rPr>
              <a:t> Minimaal 15.000 netto banengroei komende jaren </a:t>
            </a:r>
          </a:p>
          <a:p>
            <a:pPr lvl="1">
              <a:buFont typeface="Courier New" pitchFamily="49" charset="0"/>
              <a:buChar char="o"/>
              <a:defRPr/>
            </a:pPr>
            <a:endParaRPr lang="nl-NL" sz="1800" i="1">
              <a:solidFill>
                <a:srgbClr val="1F125E"/>
              </a:solidFill>
              <a:latin typeface="Calibri" pitchFamily="34" charset="0"/>
              <a:cs typeface="Arial" charset="0"/>
            </a:endParaRPr>
          </a:p>
          <a:p>
            <a:pPr lvl="1">
              <a:defRPr/>
            </a:pPr>
            <a:r>
              <a:rPr lang="nl-NL" sz="2400" b="1" u="sng">
                <a:solidFill>
                  <a:srgbClr val="1F125E"/>
                </a:solidFill>
                <a:latin typeface="Calibri" pitchFamily="34" charset="0"/>
                <a:cs typeface="Arial" charset="0"/>
              </a:rPr>
              <a:t>Tussendoelen:</a:t>
            </a:r>
          </a:p>
          <a:p>
            <a:pPr lvl="1">
              <a:buFont typeface="Courier New" pitchFamily="49" charset="0"/>
              <a:buChar char="o"/>
              <a:defRPr/>
            </a:pPr>
            <a:r>
              <a:rPr lang="nl-NL" sz="2000" i="1">
                <a:solidFill>
                  <a:srgbClr val="1F125E"/>
                </a:solidFill>
                <a:latin typeface="Calibri" pitchFamily="34" charset="0"/>
                <a:cs typeface="Arial" charset="0"/>
              </a:rPr>
              <a:t> </a:t>
            </a:r>
            <a:r>
              <a:rPr lang="nl-NL" sz="1800" i="1">
                <a:solidFill>
                  <a:srgbClr val="1F125E"/>
                </a:solidFill>
                <a:latin typeface="Calibri" pitchFamily="34" charset="0"/>
                <a:cs typeface="Arial" charset="0"/>
              </a:rPr>
              <a:t>Meetmomenten in 2016 / 2018 : 1/3 &amp; 2/3 van de doelen.</a:t>
            </a:r>
          </a:p>
          <a:p>
            <a:pPr lvl="1">
              <a:buFont typeface="Courier New" pitchFamily="49" charset="0"/>
              <a:buChar char="o"/>
              <a:defRPr/>
            </a:pPr>
            <a:r>
              <a:rPr lang="nl-NL" sz="1800" i="1">
                <a:solidFill>
                  <a:srgbClr val="1F125E"/>
                </a:solidFill>
                <a:latin typeface="Calibri" pitchFamily="34" charset="0"/>
                <a:cs typeface="Arial" charset="0"/>
              </a:rPr>
              <a:t> Indien onvoldoende: aanvullend pakket van maatregelen</a:t>
            </a:r>
            <a:endParaRPr lang="nl-NL" sz="1800" i="1">
              <a:solidFill>
                <a:srgbClr val="1F125E"/>
              </a:solidFill>
              <a:latin typeface="Calibri" pitchFamily="34" charset="0"/>
              <a:cs typeface="Arial" charset="0"/>
              <a:sym typeface="Verdana" pitchFamily="34" charset="0"/>
            </a:endParaRPr>
          </a:p>
        </p:txBody>
      </p:sp>
      <p:sp>
        <p:nvSpPr>
          <p:cNvPr id="4" name="Afgeronde rechthoek 3"/>
          <p:cNvSpPr/>
          <p:nvPr/>
        </p:nvSpPr>
        <p:spPr>
          <a:xfrm>
            <a:off x="257175" y="223838"/>
            <a:ext cx="7243763" cy="457200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nl-NL" sz="2400" dirty="0">
                <a:latin typeface="Calibri" panose="020F0502020204030204" pitchFamily="34" charset="0"/>
              </a:rPr>
              <a:t>Algemeen</a:t>
            </a:r>
            <a:endParaRPr lang="nl-NL" sz="2400" dirty="0">
              <a:solidFill>
                <a:schemeClr val="tx1"/>
              </a:solidFill>
            </a:endParaRPr>
          </a:p>
        </p:txBody>
      </p:sp>
      <p:pic>
        <p:nvPicPr>
          <p:cNvPr id="107532" name="Afbeelding 13"/>
          <p:cNvPicPr>
            <a:picLocks noChangeAspect="1"/>
          </p:cNvPicPr>
          <p:nvPr/>
        </p:nvPicPr>
        <p:blipFill>
          <a:blip r:embed="rId8"/>
          <a:srcRect l="31432" r="40395"/>
          <a:stretch>
            <a:fillRect/>
          </a:stretch>
        </p:blipFill>
        <p:spPr bwMode="auto">
          <a:xfrm>
            <a:off x="7202488" y="2584450"/>
            <a:ext cx="969962" cy="2890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7533" name="Picture 8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0" y="5981700"/>
            <a:ext cx="1101725" cy="73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550" name="Object 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8550" name="think-cell Slide" r:id="rId6" imgW="360" imgH="360" progId="">
              <p:embed/>
            </p:oleObj>
          </a:graphicData>
        </a:graphic>
      </p:graphicFrame>
      <p:sp>
        <p:nvSpPr>
          <p:cNvPr id="108551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nl-NL" sz="1600">
              <a:sym typeface="Verdana" pitchFamily="34" charset="0"/>
            </a:endParaRPr>
          </a:p>
        </p:txBody>
      </p:sp>
      <p:pic>
        <p:nvPicPr>
          <p:cNvPr id="108552" name="Tijdelijke aanduiding voor inhoud 3" descr="Logo Duurzame Energie Koepel.jp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024813" y="0"/>
            <a:ext cx="936625" cy="90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8553" name="AutoShape 42" descr="Biogas"/>
          <p:cNvSpPr>
            <a:spLocks noChangeArrowheads="1"/>
          </p:cNvSpPr>
          <p:nvPr/>
        </p:nvSpPr>
        <p:spPr bwMode="auto">
          <a:xfrm>
            <a:off x="0" y="6111875"/>
            <a:ext cx="661988" cy="592138"/>
          </a:xfrm>
          <a:prstGeom prst="roundRect">
            <a:avLst>
              <a:gd name="adj" fmla="val 16667"/>
            </a:avLst>
          </a:prstGeom>
          <a:blipFill dpi="0" rotWithShape="1">
            <a:blip r:embed="rId8"/>
            <a:srcRect/>
            <a:stretch>
              <a:fillRect/>
            </a:stretch>
          </a:blipFill>
          <a:ln w="9525" algn="ctr">
            <a:solidFill>
              <a:srgbClr val="0066CC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nl-NL"/>
          </a:p>
        </p:txBody>
      </p:sp>
      <p:sp>
        <p:nvSpPr>
          <p:cNvPr id="108554" name="AutoShape 28" descr="Biogas2"/>
          <p:cNvSpPr>
            <a:spLocks noChangeArrowheads="1"/>
          </p:cNvSpPr>
          <p:nvPr/>
        </p:nvSpPr>
        <p:spPr bwMode="auto">
          <a:xfrm>
            <a:off x="587375" y="6111875"/>
            <a:ext cx="447675" cy="592138"/>
          </a:xfrm>
          <a:prstGeom prst="roundRect">
            <a:avLst>
              <a:gd name="adj" fmla="val 16667"/>
            </a:avLst>
          </a:prstGeom>
          <a:blipFill dpi="0" rotWithShape="1">
            <a:blip r:embed="rId9"/>
            <a:srcRect/>
            <a:stretch>
              <a:fillRect/>
            </a:stretch>
          </a:blipFill>
          <a:ln w="9525" algn="ctr">
            <a:solidFill>
              <a:srgbClr val="0066CC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nl-NL"/>
          </a:p>
        </p:txBody>
      </p:sp>
      <p:sp>
        <p:nvSpPr>
          <p:cNvPr id="3" name="Afgeronde rechthoek 2"/>
          <p:cNvSpPr/>
          <p:nvPr/>
        </p:nvSpPr>
        <p:spPr>
          <a:xfrm>
            <a:off x="257175" y="904875"/>
            <a:ext cx="8355013" cy="501015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1">
              <a:defRPr/>
            </a:pPr>
            <a:r>
              <a:rPr lang="nl-NL" sz="2400" u="sng">
                <a:solidFill>
                  <a:srgbClr val="150C3F"/>
                </a:solidFill>
                <a:latin typeface="Calibri" pitchFamily="34" charset="0"/>
                <a:cs typeface="Arial" charset="0"/>
              </a:rPr>
              <a:t>Traditionele Energie: </a:t>
            </a:r>
          </a:p>
          <a:p>
            <a:pPr lvl="2">
              <a:buFont typeface="Courier New" pitchFamily="49" charset="0"/>
              <a:buChar char="o"/>
              <a:defRPr/>
            </a:pPr>
            <a:r>
              <a:rPr lang="nl-NL" sz="2400">
                <a:solidFill>
                  <a:srgbClr val="150C3F"/>
                </a:solidFill>
                <a:latin typeface="Calibri" pitchFamily="34" charset="0"/>
                <a:cs typeface="Arial" charset="0"/>
              </a:rPr>
              <a:t>grootschalige opwekking, </a:t>
            </a:r>
          </a:p>
          <a:p>
            <a:pPr lvl="2">
              <a:buFont typeface="Courier New" pitchFamily="49" charset="0"/>
              <a:buChar char="o"/>
              <a:defRPr/>
            </a:pPr>
            <a:r>
              <a:rPr lang="nl-NL" sz="2400">
                <a:solidFill>
                  <a:srgbClr val="150C3F"/>
                </a:solidFill>
                <a:latin typeface="Calibri" pitchFamily="34" charset="0"/>
                <a:cs typeface="Arial" charset="0"/>
              </a:rPr>
              <a:t>energiebedrijven in de lead </a:t>
            </a:r>
          </a:p>
          <a:p>
            <a:pPr lvl="2">
              <a:buFont typeface="Courier New" pitchFamily="49" charset="0"/>
              <a:buChar char="o"/>
              <a:defRPr/>
            </a:pPr>
            <a:r>
              <a:rPr lang="nl-NL" sz="2400">
                <a:solidFill>
                  <a:srgbClr val="150C3F"/>
                </a:solidFill>
                <a:latin typeface="Calibri" pitchFamily="34" charset="0"/>
                <a:cs typeface="Arial" charset="0"/>
              </a:rPr>
              <a:t>relatieve lage kapitaalskosten</a:t>
            </a:r>
          </a:p>
          <a:p>
            <a:pPr lvl="2">
              <a:buFont typeface="Courier New" pitchFamily="49" charset="0"/>
              <a:buChar char="o"/>
              <a:defRPr/>
            </a:pPr>
            <a:r>
              <a:rPr lang="nl-NL" sz="2400">
                <a:solidFill>
                  <a:srgbClr val="150C3F"/>
                </a:solidFill>
                <a:latin typeface="Calibri" pitchFamily="34" charset="0"/>
                <a:cs typeface="Arial" charset="0"/>
              </a:rPr>
              <a:t>hoog aandeel brandstofkosten (gas, kolen, olie)</a:t>
            </a:r>
          </a:p>
          <a:p>
            <a:pPr lvl="1">
              <a:defRPr/>
            </a:pPr>
            <a:r>
              <a:rPr lang="nl-NL" sz="2400">
                <a:solidFill>
                  <a:srgbClr val="150C3F"/>
                </a:solidFill>
                <a:latin typeface="Calibri" pitchFamily="34" charset="0"/>
                <a:cs typeface="Arial" charset="0"/>
              </a:rPr>
              <a:t> </a:t>
            </a:r>
            <a:r>
              <a:rPr lang="nl-NL" sz="2400" u="sng">
                <a:solidFill>
                  <a:srgbClr val="150C3F"/>
                </a:solidFill>
                <a:latin typeface="Calibri" pitchFamily="34" charset="0"/>
                <a:cs typeface="Arial" charset="0"/>
              </a:rPr>
              <a:t>Hernieuwbare energie:</a:t>
            </a:r>
          </a:p>
          <a:p>
            <a:pPr lvl="2">
              <a:buFont typeface="Courier New" pitchFamily="49" charset="0"/>
              <a:buChar char="o"/>
              <a:defRPr/>
            </a:pPr>
            <a:r>
              <a:rPr lang="nl-NL" sz="2400">
                <a:solidFill>
                  <a:srgbClr val="150C3F"/>
                </a:solidFill>
                <a:latin typeface="Calibri" pitchFamily="34" charset="0"/>
                <a:cs typeface="Arial" charset="0"/>
              </a:rPr>
              <a:t>Veel decentrale opwek (gas, elektra, warmte/koude)</a:t>
            </a:r>
          </a:p>
          <a:p>
            <a:pPr lvl="2">
              <a:buFont typeface="Courier New" pitchFamily="49" charset="0"/>
              <a:buChar char="o"/>
              <a:defRPr/>
            </a:pPr>
            <a:r>
              <a:rPr lang="nl-NL" sz="2400">
                <a:solidFill>
                  <a:srgbClr val="150C3F"/>
                </a:solidFill>
                <a:latin typeface="Calibri" pitchFamily="34" charset="0"/>
                <a:cs typeface="Arial" charset="0"/>
              </a:rPr>
              <a:t>Grote betrokkenheid van burgers en bedrijven</a:t>
            </a:r>
          </a:p>
          <a:p>
            <a:pPr lvl="2">
              <a:buFont typeface="Courier New" pitchFamily="49" charset="0"/>
              <a:buChar char="o"/>
              <a:defRPr/>
            </a:pPr>
            <a:r>
              <a:rPr lang="nl-NL" sz="2400">
                <a:solidFill>
                  <a:srgbClr val="150C3F"/>
                </a:solidFill>
                <a:latin typeface="Calibri" pitchFamily="34" charset="0"/>
                <a:cs typeface="Arial" charset="0"/>
              </a:rPr>
              <a:t>Relatieve hoge kapitaalskosten (apparaten om hernieuwbare energie op te wekken)</a:t>
            </a:r>
          </a:p>
          <a:p>
            <a:pPr lvl="2">
              <a:buFont typeface="Courier New" pitchFamily="49" charset="0"/>
              <a:buChar char="o"/>
              <a:defRPr/>
            </a:pPr>
            <a:r>
              <a:rPr lang="nl-NL" sz="2400">
                <a:solidFill>
                  <a:srgbClr val="150C3F"/>
                </a:solidFill>
                <a:latin typeface="Calibri" pitchFamily="34" charset="0"/>
                <a:cs typeface="Arial" charset="0"/>
              </a:rPr>
              <a:t>Lage / geen brandstofkosten</a:t>
            </a:r>
          </a:p>
          <a:p>
            <a:pPr lvl="2">
              <a:buFont typeface="Courier New" pitchFamily="49" charset="0"/>
              <a:buChar char="o"/>
              <a:defRPr/>
            </a:pPr>
            <a:r>
              <a:rPr lang="nl-NL" sz="2400">
                <a:solidFill>
                  <a:srgbClr val="150C3F"/>
                </a:solidFill>
                <a:latin typeface="Calibri" pitchFamily="34" charset="0"/>
                <a:cs typeface="Arial" charset="0"/>
              </a:rPr>
              <a:t>Dus meer economische toegevoegde waarde</a:t>
            </a:r>
          </a:p>
        </p:txBody>
      </p:sp>
      <p:sp>
        <p:nvSpPr>
          <p:cNvPr id="4" name="Afgeronde rechthoek 3"/>
          <p:cNvSpPr/>
          <p:nvPr/>
        </p:nvSpPr>
        <p:spPr>
          <a:xfrm>
            <a:off x="257175" y="223838"/>
            <a:ext cx="7243763" cy="457200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nl-NL" sz="2400" dirty="0">
                <a:latin typeface="Calibri" panose="020F0502020204030204" pitchFamily="34" charset="0"/>
              </a:rPr>
              <a:t>Herschikking van het energiesysteem</a:t>
            </a:r>
            <a:endParaRPr lang="nl-NL" sz="2400" dirty="0">
              <a:solidFill>
                <a:schemeClr val="tx1"/>
              </a:solidFill>
            </a:endParaRPr>
          </a:p>
        </p:txBody>
      </p:sp>
      <p:pic>
        <p:nvPicPr>
          <p:cNvPr id="108557" name="Afbeelding 13"/>
          <p:cNvPicPr>
            <a:picLocks noChangeAspect="1"/>
          </p:cNvPicPr>
          <p:nvPr/>
        </p:nvPicPr>
        <p:blipFill>
          <a:blip r:embed="rId10"/>
          <a:srcRect t="19273" b="30363"/>
          <a:stretch>
            <a:fillRect/>
          </a:stretch>
        </p:blipFill>
        <p:spPr bwMode="auto">
          <a:xfrm>
            <a:off x="5961063" y="1152525"/>
            <a:ext cx="2063750" cy="74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574" name="Object 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9574" name="think-cell Slide" r:id="rId6" imgW="360" imgH="360" progId="">
              <p:embed/>
            </p:oleObj>
          </a:graphicData>
        </a:graphic>
      </p:graphicFrame>
      <p:sp>
        <p:nvSpPr>
          <p:cNvPr id="109575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nl-NL" sz="1600">
              <a:sym typeface="Verdana" pitchFamily="34" charset="0"/>
            </a:endParaRPr>
          </a:p>
        </p:txBody>
      </p:sp>
      <p:pic>
        <p:nvPicPr>
          <p:cNvPr id="109576" name="Tijdelijke aanduiding voor inhoud 3" descr="Logo Duurzame Energie Koepel.jp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024813" y="0"/>
            <a:ext cx="936625" cy="90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9577" name="AutoShape 42" descr="Biogas"/>
          <p:cNvSpPr>
            <a:spLocks noChangeArrowheads="1"/>
          </p:cNvSpPr>
          <p:nvPr/>
        </p:nvSpPr>
        <p:spPr bwMode="auto">
          <a:xfrm>
            <a:off x="1539875" y="6118225"/>
            <a:ext cx="661988" cy="592138"/>
          </a:xfrm>
          <a:prstGeom prst="roundRect">
            <a:avLst>
              <a:gd name="adj" fmla="val 16667"/>
            </a:avLst>
          </a:prstGeom>
          <a:blipFill dpi="0" rotWithShape="1">
            <a:blip r:embed="rId8"/>
            <a:srcRect/>
            <a:stretch>
              <a:fillRect/>
            </a:stretch>
          </a:blipFill>
          <a:ln w="9525" algn="ctr">
            <a:solidFill>
              <a:srgbClr val="0066CC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nl-NL"/>
          </a:p>
        </p:txBody>
      </p:sp>
      <p:pic>
        <p:nvPicPr>
          <p:cNvPr id="109578" name="Afbeelding 4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0" y="6108700"/>
            <a:ext cx="738188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579" name="Afbeelding 9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738188" y="6118225"/>
            <a:ext cx="901700" cy="601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Afgeronde rechthoek 2"/>
          <p:cNvSpPr/>
          <p:nvPr/>
        </p:nvSpPr>
        <p:spPr>
          <a:xfrm>
            <a:off x="257175" y="904875"/>
            <a:ext cx="8355013" cy="501015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1">
              <a:defRPr/>
            </a:pPr>
            <a:endParaRPr lang="nl-NL" sz="2400" dirty="0">
              <a:solidFill>
                <a:schemeClr val="tx2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4" name="Afgeronde rechthoek 3"/>
          <p:cNvSpPr/>
          <p:nvPr/>
        </p:nvSpPr>
        <p:spPr>
          <a:xfrm>
            <a:off x="257175" y="223838"/>
            <a:ext cx="7243763" cy="457200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nl-NL" sz="2400" dirty="0">
                <a:latin typeface="Calibri" panose="020F0502020204030204" pitchFamily="34" charset="0"/>
              </a:rPr>
              <a:t>Het energiesysteem van de toekomst</a:t>
            </a:r>
            <a:endParaRPr lang="nl-NL" sz="2400" dirty="0">
              <a:solidFill>
                <a:schemeClr val="tx1"/>
              </a:solidFill>
            </a:endParaRPr>
          </a:p>
        </p:txBody>
      </p:sp>
      <p:pic>
        <p:nvPicPr>
          <p:cNvPr id="109582" name="Afbeelding 14"/>
          <p:cNvPicPr>
            <a:picLocks noChangeAspect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368300" y="793750"/>
            <a:ext cx="7405688" cy="523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0598" name="Object 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0598" name="think-cell Slide" r:id="rId6" imgW="360" imgH="360" progId="">
              <p:embed/>
            </p:oleObj>
          </a:graphicData>
        </a:graphic>
      </p:graphicFrame>
      <p:sp>
        <p:nvSpPr>
          <p:cNvPr id="110599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nl-NL" sz="1600">
              <a:sym typeface="Verdana" pitchFamily="34" charset="0"/>
            </a:endParaRPr>
          </a:p>
        </p:txBody>
      </p:sp>
      <p:pic>
        <p:nvPicPr>
          <p:cNvPr id="110600" name="Tijdelijke aanduiding voor inhoud 3" descr="Logo Duurzame Energie Koepel.jp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024813" y="0"/>
            <a:ext cx="936625" cy="90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0601" name="AutoShape 42" descr="Biogas"/>
          <p:cNvSpPr>
            <a:spLocks noChangeArrowheads="1"/>
          </p:cNvSpPr>
          <p:nvPr/>
        </p:nvSpPr>
        <p:spPr bwMode="auto">
          <a:xfrm>
            <a:off x="892175" y="6127750"/>
            <a:ext cx="663575" cy="592138"/>
          </a:xfrm>
          <a:prstGeom prst="roundRect">
            <a:avLst>
              <a:gd name="adj" fmla="val 16667"/>
            </a:avLst>
          </a:prstGeom>
          <a:blipFill dpi="0" rotWithShape="1">
            <a:blip r:embed="rId8"/>
            <a:srcRect/>
            <a:stretch>
              <a:fillRect/>
            </a:stretch>
          </a:blipFill>
          <a:ln w="9525" algn="ctr">
            <a:solidFill>
              <a:srgbClr val="0066CC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nl-NL"/>
          </a:p>
        </p:txBody>
      </p:sp>
      <p:sp>
        <p:nvSpPr>
          <p:cNvPr id="110602" name="AutoShape 28" descr="Biogas2"/>
          <p:cNvSpPr>
            <a:spLocks noChangeArrowheads="1"/>
          </p:cNvSpPr>
          <p:nvPr/>
        </p:nvSpPr>
        <p:spPr bwMode="auto">
          <a:xfrm>
            <a:off x="1455738" y="6134100"/>
            <a:ext cx="447675" cy="592138"/>
          </a:xfrm>
          <a:prstGeom prst="roundRect">
            <a:avLst>
              <a:gd name="adj" fmla="val 16667"/>
            </a:avLst>
          </a:prstGeom>
          <a:blipFill dpi="0" rotWithShape="1">
            <a:blip r:embed="rId9"/>
            <a:srcRect/>
            <a:stretch>
              <a:fillRect/>
            </a:stretch>
          </a:blipFill>
          <a:ln w="9525" algn="ctr">
            <a:solidFill>
              <a:srgbClr val="0066CC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nl-NL"/>
          </a:p>
        </p:txBody>
      </p:sp>
      <p:pic>
        <p:nvPicPr>
          <p:cNvPr id="110603" name="Afbeelding 9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6118225"/>
            <a:ext cx="901700" cy="601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0604" name="Afbeelding 17" descr="banner_5.png"/>
          <p:cNvPicPr>
            <a:picLocks noChangeAspect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1866900" y="6116638"/>
            <a:ext cx="1614488" cy="598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Afgeronde rechthoek 2"/>
          <p:cNvSpPr/>
          <p:nvPr/>
        </p:nvSpPr>
        <p:spPr>
          <a:xfrm>
            <a:off x="257175" y="904875"/>
            <a:ext cx="8355013" cy="501015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lvl="1">
              <a:defRPr/>
            </a:pPr>
            <a:r>
              <a:rPr lang="nl-NL" sz="2800">
                <a:solidFill>
                  <a:srgbClr val="1F125E"/>
                </a:solidFill>
                <a:latin typeface="Calibri" pitchFamily="34" charset="0"/>
                <a:cs typeface="Arial" charset="0"/>
              </a:rPr>
              <a:t>In Nederland gaat het om:</a:t>
            </a:r>
          </a:p>
          <a:p>
            <a:pPr marL="0" lvl="1">
              <a:defRPr/>
            </a:pPr>
            <a:endParaRPr lang="nl-NL" sz="1800">
              <a:solidFill>
                <a:srgbClr val="1F125E"/>
              </a:solidFill>
              <a:latin typeface="Calibri" pitchFamily="34" charset="0"/>
              <a:cs typeface="Arial" charset="0"/>
            </a:endParaRPr>
          </a:p>
          <a:p>
            <a:pPr marL="0" lvl="1">
              <a:defRPr/>
            </a:pPr>
            <a:r>
              <a:rPr lang="nl-NL" sz="2400">
                <a:solidFill>
                  <a:srgbClr val="1F125E"/>
                </a:solidFill>
                <a:latin typeface="Calibri" pitchFamily="34" charset="0"/>
                <a:cs typeface="Arial" charset="0"/>
              </a:rPr>
              <a:t>Windenergie (op land, op zee en mini-wind)</a:t>
            </a:r>
          </a:p>
          <a:p>
            <a:pPr marL="0" lvl="1">
              <a:defRPr/>
            </a:pPr>
            <a:endParaRPr lang="nl-NL">
              <a:solidFill>
                <a:srgbClr val="1F125E"/>
              </a:solidFill>
              <a:latin typeface="Calibri" pitchFamily="34" charset="0"/>
              <a:cs typeface="Arial" charset="0"/>
            </a:endParaRPr>
          </a:p>
          <a:p>
            <a:pPr marL="0" lvl="1">
              <a:defRPr/>
            </a:pPr>
            <a:r>
              <a:rPr lang="nl-NL" sz="2400">
                <a:solidFill>
                  <a:srgbClr val="1F125E"/>
                </a:solidFill>
                <a:latin typeface="Calibri" pitchFamily="34" charset="0"/>
                <a:cs typeface="Arial" charset="0"/>
              </a:rPr>
              <a:t>Bio-energie (bij/meestook, vergisting, brandstof, warmte/kracht combinatie, warmte)</a:t>
            </a:r>
          </a:p>
          <a:p>
            <a:pPr marL="0" lvl="1">
              <a:defRPr/>
            </a:pPr>
            <a:endParaRPr lang="nl-NL">
              <a:solidFill>
                <a:srgbClr val="1F125E"/>
              </a:solidFill>
              <a:latin typeface="Calibri" pitchFamily="34" charset="0"/>
              <a:cs typeface="Arial" charset="0"/>
            </a:endParaRPr>
          </a:p>
          <a:p>
            <a:pPr marL="0" lvl="1">
              <a:defRPr/>
            </a:pPr>
            <a:r>
              <a:rPr lang="nl-NL" sz="2400">
                <a:solidFill>
                  <a:srgbClr val="1F125E"/>
                </a:solidFill>
                <a:latin typeface="Calibri" pitchFamily="34" charset="0"/>
                <a:cs typeface="Arial" charset="0"/>
              </a:rPr>
              <a:t>Zonne-energie (warmte en stroom)</a:t>
            </a:r>
          </a:p>
          <a:p>
            <a:pPr marL="0" lvl="1">
              <a:defRPr/>
            </a:pPr>
            <a:endParaRPr lang="nl-NL">
              <a:solidFill>
                <a:srgbClr val="1F125E"/>
              </a:solidFill>
              <a:latin typeface="Calibri" pitchFamily="34" charset="0"/>
              <a:cs typeface="Arial" charset="0"/>
            </a:endParaRPr>
          </a:p>
          <a:p>
            <a:pPr marL="0" lvl="1">
              <a:defRPr/>
            </a:pPr>
            <a:r>
              <a:rPr lang="nl-NL" sz="2400">
                <a:solidFill>
                  <a:srgbClr val="1F125E"/>
                </a:solidFill>
                <a:latin typeface="Calibri" pitchFamily="34" charset="0"/>
                <a:cs typeface="Arial" charset="0"/>
              </a:rPr>
              <a:t>Bodemenergie (diepe geothermie en warmte/koude opslag-wko systemen)</a:t>
            </a:r>
          </a:p>
          <a:p>
            <a:pPr marL="0" lvl="1">
              <a:defRPr/>
            </a:pPr>
            <a:endParaRPr lang="nl-NL">
              <a:solidFill>
                <a:srgbClr val="1F125E"/>
              </a:solidFill>
              <a:latin typeface="Calibri" pitchFamily="34" charset="0"/>
              <a:cs typeface="Arial" charset="0"/>
            </a:endParaRPr>
          </a:p>
          <a:p>
            <a:pPr marL="0" lvl="1">
              <a:defRPr/>
            </a:pPr>
            <a:r>
              <a:rPr lang="nl-NL" sz="2400">
                <a:solidFill>
                  <a:srgbClr val="1F125E"/>
                </a:solidFill>
                <a:latin typeface="Calibri" pitchFamily="34" charset="0"/>
                <a:cs typeface="Arial" charset="0"/>
              </a:rPr>
              <a:t>Omgevingswarmte (warmtepompen)</a:t>
            </a:r>
          </a:p>
          <a:p>
            <a:pPr marL="0" lvl="1">
              <a:defRPr/>
            </a:pPr>
            <a:endParaRPr lang="nl-NL">
              <a:solidFill>
                <a:srgbClr val="1F125E"/>
              </a:solidFill>
              <a:latin typeface="Calibri" pitchFamily="34" charset="0"/>
              <a:cs typeface="Arial" charset="0"/>
            </a:endParaRPr>
          </a:p>
          <a:p>
            <a:pPr marL="0" lvl="1">
              <a:defRPr/>
            </a:pPr>
            <a:r>
              <a:rPr lang="nl-NL" sz="2400">
                <a:solidFill>
                  <a:srgbClr val="1F125E"/>
                </a:solidFill>
                <a:latin typeface="Calibri" pitchFamily="34" charset="0"/>
                <a:cs typeface="Arial" charset="0"/>
              </a:rPr>
              <a:t>Energie uit water (getijden, rivieren, zee)</a:t>
            </a:r>
          </a:p>
        </p:txBody>
      </p:sp>
      <p:sp>
        <p:nvSpPr>
          <p:cNvPr id="4" name="Afgeronde rechthoek 3"/>
          <p:cNvSpPr/>
          <p:nvPr/>
        </p:nvSpPr>
        <p:spPr>
          <a:xfrm>
            <a:off x="257175" y="223838"/>
            <a:ext cx="7243763" cy="457200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nl-NL" sz="2400" dirty="0">
                <a:latin typeface="Calibri" panose="020F0502020204030204" pitchFamily="34" charset="0"/>
              </a:rPr>
              <a:t>Duurzame energie in Nederland</a:t>
            </a:r>
            <a:endParaRPr lang="nl-NL" sz="2400" dirty="0">
              <a:solidFill>
                <a:schemeClr val="tx1"/>
              </a:solidFill>
            </a:endParaRPr>
          </a:p>
        </p:txBody>
      </p:sp>
      <p:sp>
        <p:nvSpPr>
          <p:cNvPr id="16" name="Ovaal 15"/>
          <p:cNvSpPr/>
          <p:nvPr/>
        </p:nvSpPr>
        <p:spPr>
          <a:xfrm>
            <a:off x="4262438" y="2373313"/>
            <a:ext cx="1352550" cy="457200"/>
          </a:xfrm>
          <a:prstGeom prst="ellips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19" name="Ovaal 18"/>
          <p:cNvSpPr/>
          <p:nvPr/>
        </p:nvSpPr>
        <p:spPr>
          <a:xfrm>
            <a:off x="584200" y="3195638"/>
            <a:ext cx="5184775" cy="582612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0" name="Ovaal 19"/>
          <p:cNvSpPr/>
          <p:nvPr/>
        </p:nvSpPr>
        <p:spPr>
          <a:xfrm>
            <a:off x="552450" y="4189413"/>
            <a:ext cx="5029200" cy="457200"/>
          </a:xfrm>
          <a:prstGeom prst="ellips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3" name="Ovaal 22"/>
          <p:cNvSpPr/>
          <p:nvPr/>
        </p:nvSpPr>
        <p:spPr>
          <a:xfrm>
            <a:off x="631825" y="4646613"/>
            <a:ext cx="5259388" cy="536575"/>
          </a:xfrm>
          <a:prstGeom prst="ellips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l-NL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621" name="Object 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1621" name="think-cell Slide" r:id="rId6" imgW="360" imgH="360" progId="">
              <p:embed/>
            </p:oleObj>
          </a:graphicData>
        </a:graphic>
      </p:graphicFrame>
      <p:sp>
        <p:nvSpPr>
          <p:cNvPr id="111622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nl-NL" sz="1600">
              <a:sym typeface="Verdana" pitchFamily="34" charset="0"/>
            </a:endParaRPr>
          </a:p>
        </p:txBody>
      </p:sp>
      <p:pic>
        <p:nvPicPr>
          <p:cNvPr id="111623" name="Tijdelijke aanduiding voor inhoud 3" descr="Logo Duurzame Energie Koepel.jp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024813" y="0"/>
            <a:ext cx="936625" cy="90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1624" name="Afbeelding 23" descr="http://www.tocardo.com/siteAssets/images/Projects/18%20-%20den%20oever_croppedwide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6134100"/>
            <a:ext cx="1247775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Afgeronde rechthoek 2"/>
          <p:cNvSpPr/>
          <p:nvPr/>
        </p:nvSpPr>
        <p:spPr>
          <a:xfrm>
            <a:off x="257175" y="904875"/>
            <a:ext cx="8355013" cy="501015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1">
              <a:defRPr/>
            </a:pPr>
            <a:endParaRPr lang="nl-NL" sz="2400" dirty="0">
              <a:solidFill>
                <a:schemeClr val="tx2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4" name="Afgeronde rechthoek 3"/>
          <p:cNvSpPr/>
          <p:nvPr/>
        </p:nvSpPr>
        <p:spPr>
          <a:xfrm>
            <a:off x="257175" y="223838"/>
            <a:ext cx="7243763" cy="457200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nl-NL" sz="2400" dirty="0">
                <a:latin typeface="Calibri" panose="020F0502020204030204" pitchFamily="34" charset="0"/>
              </a:rPr>
              <a:t>Indicatieve verdeling van de PJ’s</a:t>
            </a:r>
            <a:endParaRPr lang="nl-NL" sz="2400" dirty="0">
              <a:solidFill>
                <a:schemeClr val="tx1"/>
              </a:solidFill>
            </a:endParaRPr>
          </a:p>
        </p:txBody>
      </p:sp>
      <p:pic>
        <p:nvPicPr>
          <p:cNvPr id="111627" name="Picture 26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189038" y="979488"/>
            <a:ext cx="5708650" cy="4887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Ovaal 18"/>
          <p:cNvSpPr/>
          <p:nvPr/>
        </p:nvSpPr>
        <p:spPr>
          <a:xfrm>
            <a:off x="2052638" y="2474913"/>
            <a:ext cx="5337175" cy="1322387"/>
          </a:xfrm>
          <a:prstGeom prst="ellipse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0" name="Ovaal 19"/>
          <p:cNvSpPr/>
          <p:nvPr/>
        </p:nvSpPr>
        <p:spPr>
          <a:xfrm>
            <a:off x="1433513" y="4090988"/>
            <a:ext cx="5337175" cy="466725"/>
          </a:xfrm>
          <a:prstGeom prst="ellipse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l-NL" dirty="0" err="1">
              <a:solidFill>
                <a:schemeClr val="tx1"/>
              </a:solidFill>
            </a:endParaRPr>
          </a:p>
        </p:txBody>
      </p:sp>
      <p:sp>
        <p:nvSpPr>
          <p:cNvPr id="23" name="Ovaal 22"/>
          <p:cNvSpPr/>
          <p:nvPr/>
        </p:nvSpPr>
        <p:spPr>
          <a:xfrm>
            <a:off x="1639888" y="5092700"/>
            <a:ext cx="5337175" cy="466725"/>
          </a:xfrm>
          <a:prstGeom prst="ellipse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l-NL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45" name="Object 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2645" name="think-cell Slide" r:id="rId6" imgW="360" imgH="360" progId="">
              <p:embed/>
            </p:oleObj>
          </a:graphicData>
        </a:graphic>
      </p:graphicFrame>
      <p:sp>
        <p:nvSpPr>
          <p:cNvPr id="112646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nl-NL" sz="1600">
              <a:sym typeface="Verdana" pitchFamily="34" charset="0"/>
            </a:endParaRPr>
          </a:p>
        </p:txBody>
      </p:sp>
      <p:pic>
        <p:nvPicPr>
          <p:cNvPr id="112647" name="Tijdelijke aanduiding voor inhoud 3" descr="Logo Duurzame Energie Koepel.jp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024813" y="0"/>
            <a:ext cx="936625" cy="90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2648" name="Afbeelding 9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6108700"/>
            <a:ext cx="901700" cy="601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Afgeronde rechthoek 2"/>
          <p:cNvSpPr/>
          <p:nvPr/>
        </p:nvSpPr>
        <p:spPr>
          <a:xfrm>
            <a:off x="257175" y="904875"/>
            <a:ext cx="8355013" cy="5010150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1">
              <a:lnSpc>
                <a:spcPct val="150000"/>
              </a:lnSpc>
              <a:defRPr/>
            </a:pPr>
            <a:r>
              <a:rPr lang="nl-NL" sz="2400" u="sng">
                <a:solidFill>
                  <a:srgbClr val="1F125E"/>
                </a:solidFill>
                <a:latin typeface="Calibri" pitchFamily="34" charset="0"/>
                <a:cs typeface="Arial" charset="0"/>
              </a:rPr>
              <a:t>Illustratie van de “energieke samenleving”</a:t>
            </a:r>
          </a:p>
          <a:p>
            <a:pPr lvl="1">
              <a:lnSpc>
                <a:spcPct val="150000"/>
              </a:lnSpc>
              <a:buFont typeface="Arial" charset="0"/>
              <a:buChar char="•"/>
              <a:defRPr/>
            </a:pPr>
            <a:r>
              <a:rPr lang="nl-NL" sz="2400">
                <a:solidFill>
                  <a:srgbClr val="1F125E"/>
                </a:solidFill>
                <a:latin typeface="Calibri" pitchFamily="34" charset="0"/>
                <a:cs typeface="Arial" charset="0"/>
              </a:rPr>
              <a:t>Salderen achter de meter, met 5000 KWh vrijstelling EB	</a:t>
            </a:r>
            <a:r>
              <a:rPr lang="nl-NL" sz="3600">
                <a:solidFill>
                  <a:srgbClr val="1F125E"/>
                </a:solidFill>
                <a:latin typeface="Calibri" pitchFamily="34" charset="0"/>
                <a:cs typeface="Arial" charset="0"/>
              </a:rPr>
              <a:t>√</a:t>
            </a:r>
            <a:endParaRPr lang="nl-NL" sz="2400">
              <a:solidFill>
                <a:srgbClr val="1F125E"/>
              </a:solidFill>
              <a:latin typeface="Calibri" pitchFamily="34" charset="0"/>
              <a:cs typeface="Arial" charset="0"/>
            </a:endParaRPr>
          </a:p>
          <a:p>
            <a:pPr lvl="1">
              <a:lnSpc>
                <a:spcPct val="150000"/>
              </a:lnSpc>
              <a:buFont typeface="Arial" charset="0"/>
              <a:buChar char="•"/>
              <a:defRPr/>
            </a:pPr>
            <a:r>
              <a:rPr lang="nl-NL" sz="2400">
                <a:solidFill>
                  <a:srgbClr val="1F125E"/>
                </a:solidFill>
                <a:latin typeface="Calibri" pitchFamily="34" charset="0"/>
                <a:cs typeface="Arial" charset="0"/>
              </a:rPr>
              <a:t>Burger- energie coöperaties met EB korting</a:t>
            </a:r>
            <a:r>
              <a:rPr lang="nl-NL" sz="3600">
                <a:solidFill>
                  <a:srgbClr val="1F125E"/>
                </a:solidFill>
                <a:latin typeface="Calibri" pitchFamily="34" charset="0"/>
                <a:cs typeface="Arial" charset="0"/>
              </a:rPr>
              <a:t> 		√</a:t>
            </a:r>
            <a:endParaRPr lang="nl-NL" sz="2400">
              <a:solidFill>
                <a:srgbClr val="1F125E"/>
              </a:solidFill>
              <a:latin typeface="Calibri" pitchFamily="34" charset="0"/>
              <a:cs typeface="Arial" charset="0"/>
            </a:endParaRPr>
          </a:p>
          <a:p>
            <a:pPr lvl="1">
              <a:lnSpc>
                <a:spcPct val="150000"/>
              </a:lnSpc>
              <a:buFont typeface="Arial" charset="0"/>
              <a:buChar char="•"/>
              <a:defRPr/>
            </a:pPr>
            <a:r>
              <a:rPr lang="nl-NL" sz="2400">
                <a:solidFill>
                  <a:srgbClr val="1F125E"/>
                </a:solidFill>
                <a:latin typeface="Calibri" pitchFamily="34" charset="0"/>
                <a:cs typeface="Arial" charset="0"/>
              </a:rPr>
              <a:t>“ontzorgingsmodellen”- achter de meter met KWh	</a:t>
            </a:r>
            <a:r>
              <a:rPr lang="nl-NL" sz="3200">
                <a:solidFill>
                  <a:srgbClr val="1F125E"/>
                </a:solidFill>
                <a:latin typeface="Calibri" pitchFamily="34" charset="0"/>
                <a:cs typeface="Arial" charset="0"/>
              </a:rPr>
              <a:t>X</a:t>
            </a:r>
          </a:p>
          <a:p>
            <a:pPr lvl="1">
              <a:lnSpc>
                <a:spcPct val="150000"/>
              </a:lnSpc>
              <a:buFont typeface="Arial" charset="0"/>
              <a:buChar char="•"/>
              <a:defRPr/>
            </a:pPr>
            <a:r>
              <a:rPr lang="nl-NL" sz="2400">
                <a:solidFill>
                  <a:srgbClr val="1F125E"/>
                </a:solidFill>
                <a:latin typeface="Calibri" pitchFamily="34" charset="0"/>
                <a:cs typeface="Arial" charset="0"/>
              </a:rPr>
              <a:t>“ontzorgingsmodellen”- achter de meter zonder KWh	</a:t>
            </a:r>
            <a:r>
              <a:rPr lang="nl-NL" sz="3600">
                <a:solidFill>
                  <a:srgbClr val="1F125E"/>
                </a:solidFill>
                <a:latin typeface="Calibri" pitchFamily="34" charset="0"/>
                <a:cs typeface="Arial" charset="0"/>
              </a:rPr>
              <a:t>√</a:t>
            </a:r>
          </a:p>
          <a:p>
            <a:pPr lvl="1">
              <a:lnSpc>
                <a:spcPct val="150000"/>
              </a:lnSpc>
              <a:buFont typeface="Arial" charset="0"/>
              <a:buChar char="•"/>
              <a:defRPr/>
            </a:pPr>
            <a:r>
              <a:rPr lang="nl-NL" sz="2400">
                <a:solidFill>
                  <a:srgbClr val="1F125E"/>
                </a:solidFill>
                <a:latin typeface="Calibri" pitchFamily="34" charset="0"/>
                <a:cs typeface="Arial" charset="0"/>
              </a:rPr>
              <a:t>Eigen panelen en miniwind voor de meter		</a:t>
            </a:r>
            <a:r>
              <a:rPr lang="nl-NL" sz="3600">
                <a:solidFill>
                  <a:srgbClr val="1F125E"/>
                </a:solidFill>
                <a:latin typeface="Calibri" pitchFamily="34" charset="0"/>
                <a:cs typeface="Arial" charset="0"/>
              </a:rPr>
              <a:t>?</a:t>
            </a:r>
          </a:p>
        </p:txBody>
      </p:sp>
      <p:sp>
        <p:nvSpPr>
          <p:cNvPr id="4" name="Afgeronde rechthoek 3"/>
          <p:cNvSpPr/>
          <p:nvPr/>
        </p:nvSpPr>
        <p:spPr>
          <a:xfrm>
            <a:off x="257175" y="223838"/>
            <a:ext cx="7243763" cy="457200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nl-NL" sz="2400" dirty="0">
                <a:latin typeface="Calibri" panose="020F0502020204030204" pitchFamily="34" charset="0"/>
              </a:rPr>
              <a:t>“Decentrale opwek”- zonne-energie</a:t>
            </a:r>
            <a:endParaRPr lang="nl-NL" sz="2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NP_IDX" val="2"/>
  <p:tag name="THINKCELLPRESENTATIONDONOTDELETE" val="&lt;?xml version=&quot;1.0&quot; encoding=&quot;UTF-16&quot; standalone=&quot;yes&quot;?&gt;&#10;&lt;root reqver=&quot;17839&quot;&gt;&lt;version val=&quot;211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6&quot;/&gt;&lt;m_nIndex val=&quot;1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43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csG1bKO0eePkFMAwv73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uEgttmV0ekQPt6OGL4C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WNO5yrBUWXsiGp3bQuM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csG1bKO0eePkFMAwv73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fJdOvEGEeo7B7BXdxpw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Gjg1QE80q1yUAdM0yDf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BqgvNSdUK4eC9FIX5MB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WdWvte2UqFrojMrZjTv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fJdOvEGEeo7B7BXdxpw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WdWvte2UqFrojMrZjTv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WdWvte2UqFrojMrZjTv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WdWvte2UqFrojMrZjTv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WdWvte2UqFrojMrZjTv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WdWvte2UqFrojMrZjTv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Gjg1QE80q1yUAdM0yDf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WdWvte2UqFrojMrZjTv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WdWvte2UqFrojMrZjTv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WdWvte2UqFrojMrZjTv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WdWvte2UqFrojMrZjTv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WdWvte2UqFrojMrZjTv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WdWvte2UqFrojMrZjTv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XbiiEzREmelXsb1qqIX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Gjg1QE80q1yUAdM0yD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vuQzVzLka733CFjTjWn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rhfY6RKU.rcCBzwdCFT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pLwIgo5UaLJn3urzL2g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em5ezTs0mJtLpONGre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.BAv51l8ECs8q7is.0ik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P1eu8iHU2h5B.gCXJIb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CqgWf_z0yELl55Ciqyu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ccawD2YEywtwf.B_oaZ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7125EMiUuTSfdiLf87A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tUuF5Nn0eSuTQ0A6gCQ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uEgttmV0ekQPt6OGL4C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WNO5yrBUWXsiGp3bQuM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csG1bKO0eePkFMAwv73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ccawD2YEywtwf.B_oaZ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fJdOvEGEeo7B7BXdxpw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Gjg1QE80q1yUAdM0yDf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BqgvNSdUK4eC9FIX5MB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ccawD2YEywtwf.B_oaZ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7125EMiUuTSfdiLf87A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tUuF5Nn0eSuTQ0A6gCQ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uEgttmV0ekQPt6OGL4C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WNO5yrBUWXsiGp3bQu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7125EMiUuTSfdiLf87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csG1bKO0eePkFMAwv73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fJdOvEGEeo7B7BXdxpw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Gjg1QE80q1yUAdM0yDf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ccawD2YEywtwf.B_oaZ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7125EMiUuTSfdiLf87A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tUuF5Nn0eSuTQ0A6gCQ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0QA1Mo10yIRtaCSZbOo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YT7_pT_023FIcEX9bcO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uEgttmV0ekQPt6OGL4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tUuF5Nn0eSuTQ0A6gCQ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WNO5yrBUWXsiGp3bQuM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csG1bKO0eePkFMAwv73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fJdOvEGEeo7B7BXdxp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Gjg1QE80q1yUAdM0yDf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XbiiEzREmelXsb1qqIX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Gjg1QE80q1yUAdM0yDf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vuQzVzLka733CFjTjWn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rhfY6RKU.rcCBzwdCFT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pLwIgo5UaLJn3urzL2g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0QA1Mo10yIRtaCSZbOo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em5ezTs0mJtLpONGrey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.BAv51l8ECs8q7is.0ik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P1eu8iHU2h5B.gCXJIb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CqgWf_z0yELl55Ciqyu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ccawD2YEywtwf.B_oaZ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7125EMiUuTSfdiLf87A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tUuF5Nn0eSuTQ0A6gCQ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uEgttmV0ekQPt6OGL4C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WNO5yrBUWXsiGp3bQuM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YT7_pT_023FIcEX9bcO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csG1bKO0eePkFMAwv73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fJdOvEGEeo7B7BXdxpw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Gjg1QE80q1yUAdM0yDf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BqgvNSdUK4eC9FIX5MB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ccawD2YEywtwf.B_oaZ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7125EMiUuTSfdiLf87A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tUuF5Nn0eSuTQ0A6gCQ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0QA1Mo10yIRtaCSZbOo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uEgttmV0ekQPt6OGL4C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YT7_pT_023FIcEX9bcO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uEgttmV0ekQPt6OGL4C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WNO5yrBUWXsiGp3bQuM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csG1bKO0eePkFMAwv73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fJdOvEGEeo7B7BXdxpw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Gjg1QE80q1yUAdM0yDf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XbiiEzREmelXsb1qqIX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Gjg1QE80q1yUAdM0yDf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vuQzVzLka733CFjTjWn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WNO5yrBUWXsiGp3bQuM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rhfY6RKU.rcCBzwdCFT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pLwIgo5UaLJn3urzL2g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em5ezTs0mJtLpONGrey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.BAv51l8ECs8q7is.0ik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P1eu8iHU2h5B.gCXJIb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CqgWf_z0yELl55Ciqyu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ccawD2YEywtwf.B_oaZ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7125EMiUuTSfdiLf87A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tUuF5Nn0eSuTQ0A6gCQA"/>
</p:tagLst>
</file>

<file path=ppt/theme/theme1.xml><?xml version="1.0" encoding="utf-8"?>
<a:theme xmlns:a="http://schemas.openxmlformats.org/drawingml/2006/main" name="Firm Format - Dutch">
  <a:themeElements>
    <a:clrScheme name="SER">
      <a:dk1>
        <a:srgbClr val="000000"/>
      </a:dk1>
      <a:lt1>
        <a:srgbClr val="FFFFFF"/>
      </a:lt1>
      <a:dk2>
        <a:srgbClr val="2A187D"/>
      </a:dk2>
      <a:lt2>
        <a:srgbClr val="FFFFFF"/>
      </a:lt2>
      <a:accent1>
        <a:srgbClr val="E8EAEB"/>
      </a:accent1>
      <a:accent2>
        <a:srgbClr val="60C5EA"/>
      </a:accent2>
      <a:accent3>
        <a:srgbClr val="EF8300"/>
      </a:accent3>
      <a:accent4>
        <a:srgbClr val="B3006B"/>
      </a:accent4>
      <a:accent5>
        <a:srgbClr val="2A187D"/>
      </a:accent5>
      <a:accent6>
        <a:srgbClr val="808080"/>
      </a:accent6>
      <a:hlink>
        <a:srgbClr val="EF8300"/>
      </a:hlink>
      <a:folHlink>
        <a:srgbClr val="B3006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- Dutch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Dutch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Dutch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Dutch 4">
        <a:dk1>
          <a:srgbClr val="000000"/>
        </a:dk1>
        <a:lt1>
          <a:srgbClr val="FFFFFF"/>
        </a:lt1>
        <a:dk2>
          <a:srgbClr val="2A187D"/>
        </a:dk2>
        <a:lt2>
          <a:srgbClr val="FFFFFF"/>
        </a:lt2>
        <a:accent1>
          <a:srgbClr val="E8EAEB"/>
        </a:accent1>
        <a:accent2>
          <a:srgbClr val="60C5EA"/>
        </a:accent2>
        <a:accent3>
          <a:srgbClr val="FFFFFF"/>
        </a:accent3>
        <a:accent4>
          <a:srgbClr val="000000"/>
        </a:accent4>
        <a:accent5>
          <a:srgbClr val="F2F3F3"/>
        </a:accent5>
        <a:accent6>
          <a:srgbClr val="56B2D4"/>
        </a:accent6>
        <a:hlink>
          <a:srgbClr val="EF8300"/>
        </a:hlink>
        <a:folHlink>
          <a:srgbClr val="B3006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Firm Format - Dutch">
  <a:themeElements>
    <a:clrScheme name="SER">
      <a:dk1>
        <a:srgbClr val="000000"/>
      </a:dk1>
      <a:lt1>
        <a:srgbClr val="FFFFFF"/>
      </a:lt1>
      <a:dk2>
        <a:srgbClr val="2A187D"/>
      </a:dk2>
      <a:lt2>
        <a:srgbClr val="FFFFFF"/>
      </a:lt2>
      <a:accent1>
        <a:srgbClr val="E8EAEB"/>
      </a:accent1>
      <a:accent2>
        <a:srgbClr val="60C5EA"/>
      </a:accent2>
      <a:accent3>
        <a:srgbClr val="EF8300"/>
      </a:accent3>
      <a:accent4>
        <a:srgbClr val="B3006B"/>
      </a:accent4>
      <a:accent5>
        <a:srgbClr val="2A187D"/>
      </a:accent5>
      <a:accent6>
        <a:srgbClr val="808080"/>
      </a:accent6>
      <a:hlink>
        <a:srgbClr val="EF8300"/>
      </a:hlink>
      <a:folHlink>
        <a:srgbClr val="B3006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- Dutch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Dutch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Dutch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Dutch 4">
        <a:dk1>
          <a:srgbClr val="000000"/>
        </a:dk1>
        <a:lt1>
          <a:srgbClr val="FFFFFF"/>
        </a:lt1>
        <a:dk2>
          <a:srgbClr val="2A187D"/>
        </a:dk2>
        <a:lt2>
          <a:srgbClr val="FFFFFF"/>
        </a:lt2>
        <a:accent1>
          <a:srgbClr val="E8EAEB"/>
        </a:accent1>
        <a:accent2>
          <a:srgbClr val="60C5EA"/>
        </a:accent2>
        <a:accent3>
          <a:srgbClr val="FFFFFF"/>
        </a:accent3>
        <a:accent4>
          <a:srgbClr val="000000"/>
        </a:accent4>
        <a:accent5>
          <a:srgbClr val="F2F3F3"/>
        </a:accent5>
        <a:accent6>
          <a:srgbClr val="56B2D4"/>
        </a:accent6>
        <a:hlink>
          <a:srgbClr val="EF8300"/>
        </a:hlink>
        <a:folHlink>
          <a:srgbClr val="B3006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Firm Format - Dutch">
  <a:themeElements>
    <a:clrScheme name="SER">
      <a:dk1>
        <a:srgbClr val="000000"/>
      </a:dk1>
      <a:lt1>
        <a:srgbClr val="FFFFFF"/>
      </a:lt1>
      <a:dk2>
        <a:srgbClr val="2A187D"/>
      </a:dk2>
      <a:lt2>
        <a:srgbClr val="FFFFFF"/>
      </a:lt2>
      <a:accent1>
        <a:srgbClr val="E8EAEB"/>
      </a:accent1>
      <a:accent2>
        <a:srgbClr val="60C5EA"/>
      </a:accent2>
      <a:accent3>
        <a:srgbClr val="EF8300"/>
      </a:accent3>
      <a:accent4>
        <a:srgbClr val="B3006B"/>
      </a:accent4>
      <a:accent5>
        <a:srgbClr val="2A187D"/>
      </a:accent5>
      <a:accent6>
        <a:srgbClr val="808080"/>
      </a:accent6>
      <a:hlink>
        <a:srgbClr val="EF8300"/>
      </a:hlink>
      <a:folHlink>
        <a:srgbClr val="B3006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- Dutch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Dutch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Dutch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Dutch 4">
        <a:dk1>
          <a:srgbClr val="000000"/>
        </a:dk1>
        <a:lt1>
          <a:srgbClr val="FFFFFF"/>
        </a:lt1>
        <a:dk2>
          <a:srgbClr val="2A187D"/>
        </a:dk2>
        <a:lt2>
          <a:srgbClr val="FFFFFF"/>
        </a:lt2>
        <a:accent1>
          <a:srgbClr val="E8EAEB"/>
        </a:accent1>
        <a:accent2>
          <a:srgbClr val="60C5EA"/>
        </a:accent2>
        <a:accent3>
          <a:srgbClr val="FFFFFF"/>
        </a:accent3>
        <a:accent4>
          <a:srgbClr val="000000"/>
        </a:accent4>
        <a:accent5>
          <a:srgbClr val="F2F3F3"/>
        </a:accent5>
        <a:accent6>
          <a:srgbClr val="56B2D4"/>
        </a:accent6>
        <a:hlink>
          <a:srgbClr val="EF8300"/>
        </a:hlink>
        <a:folHlink>
          <a:srgbClr val="B3006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774</TotalTime>
  <Words>456</Words>
  <Application>Microsoft Office PowerPoint</Application>
  <PresentationFormat>Custom</PresentationFormat>
  <Paragraphs>97</Paragraphs>
  <Slides>13</Slides>
  <Notes>13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5</vt:i4>
      </vt:variant>
      <vt:variant>
        <vt:lpstr>Ontwerpsjabloon</vt:lpstr>
      </vt:variant>
      <vt:variant>
        <vt:i4>10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3</vt:i4>
      </vt:variant>
    </vt:vector>
  </HeadingPairs>
  <TitlesOfParts>
    <vt:vector size="29" baseType="lpstr">
      <vt:lpstr>Verdana</vt:lpstr>
      <vt:lpstr>Arial</vt:lpstr>
      <vt:lpstr>Wingdings</vt:lpstr>
      <vt:lpstr>Calibri</vt:lpstr>
      <vt:lpstr>Courier New</vt:lpstr>
      <vt:lpstr>Firm Format - Dutch</vt:lpstr>
      <vt:lpstr>1_Firm Format - Dutch</vt:lpstr>
      <vt:lpstr>2_Firm Format - Dutch</vt:lpstr>
      <vt:lpstr>Firm Format - Dutch</vt:lpstr>
      <vt:lpstr>Firm Format - Dutch</vt:lpstr>
      <vt:lpstr>Firm Format - Dutch</vt:lpstr>
      <vt:lpstr>1_Firm Format - Dutch</vt:lpstr>
      <vt:lpstr>1_Firm Format - Dutch</vt:lpstr>
      <vt:lpstr>2_Firm Format - Dutch</vt:lpstr>
      <vt:lpstr>2_Firm Format - Dutch</vt:lpstr>
      <vt:lpstr>think-cell Slide</vt:lpstr>
      <vt:lpstr>Dia 0</vt:lpstr>
      <vt:lpstr>Dia 1</vt:lpstr>
      <vt:lpstr>Dia 2</vt:lpstr>
      <vt:lpstr>Dia 3</vt:lpstr>
      <vt:lpstr>Dia 4</vt:lpstr>
      <vt:lpstr>Dia 5</vt:lpstr>
      <vt:lpstr>Dia 6</vt:lpstr>
      <vt:lpstr>Dia 7</vt:lpstr>
      <vt:lpstr>Dia 8</vt:lpstr>
      <vt:lpstr>Dia 9</vt:lpstr>
      <vt:lpstr>Dia 10</vt:lpstr>
      <vt:lpstr>Dia 11</vt:lpstr>
      <vt:lpstr>Dia 12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</dc:title>
  <dc:creator>Afitha de Rijk</dc:creator>
  <cp:lastModifiedBy>djump</cp:lastModifiedBy>
  <cp:revision>309</cp:revision>
  <cp:lastPrinted>2014-02-01T15:06:51Z</cp:lastPrinted>
  <dcterms:created xsi:type="dcterms:W3CDTF">2012-10-29T15:57:52Z</dcterms:created>
  <dcterms:modified xsi:type="dcterms:W3CDTF">2014-04-17T05:41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el</vt:lpwstr>
  </property>
  <property fmtid="{D5CDD505-2E9C-101B-9397-08002B2CF9AE}" pid="3" name="Final">
    <vt:bool>true</vt:bool>
  </property>
  <property fmtid="{D5CDD505-2E9C-101B-9397-08002B2CF9AE}" pid="4" name="Event">
    <vt:lpwstr/>
  </property>
  <property fmtid="{D5CDD505-2E9C-101B-9397-08002B2CF9AE}" pid="5" name="Delivery Date">
    <vt:lpwstr>30 Januari, 2013</vt:lpwstr>
  </property>
  <property fmtid="{D5CDD505-2E9C-101B-9397-08002B2CF9AE}" pid="6" name="docid">
    <vt:lpwstr/>
  </property>
  <property fmtid="{D5CDD505-2E9C-101B-9397-08002B2CF9AE}" pid="7" name="Office2010EditCount">
    <vt:lpwstr>2</vt:lpwstr>
  </property>
  <property fmtid="{D5CDD505-2E9C-101B-9397-08002B2CF9AE}" pid="8" name="Office2003EditCount">
    <vt:lpwstr>1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